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  <p:sldMasterId id="2147483713" r:id="rId5"/>
    <p:sldMasterId id="2147483732" r:id="rId6"/>
  </p:sldMasterIdLst>
  <p:notesMasterIdLst>
    <p:notesMasterId r:id="rId19"/>
  </p:notesMasterIdLst>
  <p:handoutMasterIdLst>
    <p:handoutMasterId r:id="rId20"/>
  </p:handoutMasterIdLst>
  <p:sldIdLst>
    <p:sldId id="2146848140" r:id="rId7"/>
    <p:sldId id="2147470645" r:id="rId8"/>
    <p:sldId id="2147470667" r:id="rId9"/>
    <p:sldId id="2147470649" r:id="rId10"/>
    <p:sldId id="2147470669" r:id="rId11"/>
    <p:sldId id="2147470670" r:id="rId12"/>
    <p:sldId id="2147470653" r:id="rId13"/>
    <p:sldId id="2147470644" r:id="rId14"/>
    <p:sldId id="2147470666" r:id="rId15"/>
    <p:sldId id="2147470668" r:id="rId16"/>
    <p:sldId id="2147470643" r:id="rId17"/>
    <p:sldId id="840" r:id="rId18"/>
  </p:sldIdLst>
  <p:sldSz cx="12192000" cy="6858000"/>
  <p:notesSz cx="7010400" cy="9296400"/>
  <p:embeddedFontLst>
    <p:embeddedFont>
      <p:font typeface="Malgun Gothic" panose="020B0503020000020004" pitchFamily="34" charset="-127"/>
      <p:regular r:id="rId21"/>
      <p:bold r:id="rId22"/>
    </p:embeddedFont>
    <p:embeddedFont>
      <p:font typeface="LindeDaxPowerPoint" panose="020B0500000000020000" pitchFamily="34" charset="0"/>
      <p:regular r:id="rId23"/>
      <p:bold r:id="rId24"/>
      <p:italic r:id="rId25"/>
      <p:boldItalic r:id="rId26"/>
    </p:embeddedFont>
    <p:embeddedFont>
      <p:font typeface="Verdana" panose="020B0604030504040204" pitchFamily="34" charset="0"/>
      <p:regular r:id="rId27"/>
      <p:bold r:id="rId28"/>
      <p:italic r:id="rId29"/>
      <p:boldItalic r:id="rId30"/>
    </p:embeddedFont>
  </p:embeddedFontLst>
  <p:custDataLst>
    <p:tags r:id="rId31"/>
  </p:custDataLst>
  <p:defaultTextStyle>
    <a:defPPr>
      <a:defRPr lang="en-US"/>
    </a:defPPr>
    <a:lvl1pPr algn="l" rtl="0" fontAlgn="base">
      <a:lnSpc>
        <a:spcPct val="110000"/>
      </a:lnSpc>
      <a:spcBef>
        <a:spcPct val="0"/>
      </a:spcBef>
      <a:spcAft>
        <a:spcPct val="0"/>
      </a:spcAft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1pPr>
    <a:lvl2pPr marL="457200" algn="l" rtl="0" fontAlgn="base">
      <a:lnSpc>
        <a:spcPct val="110000"/>
      </a:lnSpc>
      <a:spcBef>
        <a:spcPct val="0"/>
      </a:spcBef>
      <a:spcAft>
        <a:spcPct val="0"/>
      </a:spcAft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2pPr>
    <a:lvl3pPr marL="914400" algn="l" rtl="0" fontAlgn="base">
      <a:lnSpc>
        <a:spcPct val="110000"/>
      </a:lnSpc>
      <a:spcBef>
        <a:spcPct val="0"/>
      </a:spcBef>
      <a:spcAft>
        <a:spcPct val="0"/>
      </a:spcAft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3pPr>
    <a:lvl4pPr marL="1371600" algn="l" rtl="0" fontAlgn="base">
      <a:lnSpc>
        <a:spcPct val="110000"/>
      </a:lnSpc>
      <a:spcBef>
        <a:spcPct val="0"/>
      </a:spcBef>
      <a:spcAft>
        <a:spcPct val="0"/>
      </a:spcAft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4pPr>
    <a:lvl5pPr marL="1828800" algn="l" rtl="0" fontAlgn="base">
      <a:lnSpc>
        <a:spcPct val="110000"/>
      </a:lnSpc>
      <a:spcBef>
        <a:spcPct val="0"/>
      </a:spcBef>
      <a:spcAft>
        <a:spcPct val="0"/>
      </a:spcAft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5" userDrawn="1">
          <p15:clr>
            <a:srgbClr val="A4A3A4"/>
          </p15:clr>
        </p15:guide>
        <p15:guide id="2" orient="horz" pos="4020" userDrawn="1">
          <p15:clr>
            <a:srgbClr val="A4A3A4"/>
          </p15:clr>
        </p15:guide>
        <p15:guide id="5" pos="7408" userDrawn="1">
          <p15:clr>
            <a:srgbClr val="A4A3A4"/>
          </p15:clr>
        </p15:guide>
        <p15:guide id="11" pos="272" userDrawn="1">
          <p15:clr>
            <a:srgbClr val="A4A3A4"/>
          </p15:clr>
        </p15:guide>
        <p15:guide id="15" pos="3961" userDrawn="1">
          <p15:clr>
            <a:srgbClr val="A4A3A4"/>
          </p15:clr>
        </p15:guide>
        <p15:guide id="18" pos="3840" userDrawn="1">
          <p15:clr>
            <a:srgbClr val="A4A3A4"/>
          </p15:clr>
        </p15:guide>
        <p15:guide id="19" pos="371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rau Mädler, Karin" initials="FMK" lastIdx="7" clrIdx="0"/>
  <p:cmAuthor id="1" name="Sascha-Matthias Kulawik" initials="SK" lastIdx="2" clrIdx="1">
    <p:extLst>
      <p:ext uri="{19B8F6BF-5375-455C-9EA6-DF929625EA0E}">
        <p15:presenceInfo xmlns:p15="http://schemas.microsoft.com/office/powerpoint/2012/main" userId="S::exde32a6@linde.com::e1f319d4-37b0-4193-95a1-ca9c465bf687" providerId="AD"/>
      </p:ext>
    </p:extLst>
  </p:cmAuthor>
  <p:cmAuthor id="2" name="Christine Drentwett" initials="CD" lastIdx="0" clrIdx="2">
    <p:extLst>
      <p:ext uri="{19B8F6BF-5375-455C-9EA6-DF929625EA0E}">
        <p15:presenceInfo xmlns:p15="http://schemas.microsoft.com/office/powerpoint/2012/main" userId="S-1-5-21-632532318-2666670698-1580278117-497324" providerId="AD"/>
      </p:ext>
    </p:extLst>
  </p:cmAuthor>
  <p:cmAuthor id="3" name="Dominique Schoenberger" initials="DS" lastIdx="1" clrIdx="3">
    <p:extLst>
      <p:ext uri="{19B8F6BF-5375-455C-9EA6-DF929625EA0E}">
        <p15:presenceInfo xmlns:p15="http://schemas.microsoft.com/office/powerpoint/2012/main" userId="S::dec216@linde.com::9bf6f650-1f48-453f-8195-d432dc9f56bb" providerId="AD"/>
      </p:ext>
    </p:extLst>
  </p:cmAuthor>
  <p:cmAuthor id="4" name="Lisa Korn" initials="LK" lastIdx="1" clrIdx="4">
    <p:extLst>
      <p:ext uri="{19B8F6BF-5375-455C-9EA6-DF929625EA0E}">
        <p15:presenceInfo xmlns:p15="http://schemas.microsoft.com/office/powerpoint/2012/main" userId="S::Lisa_Korn@onelinde.com::c45b15fe-5202-4d97-a681-6b222ff8d638" providerId="AD"/>
      </p:ext>
    </p:extLst>
  </p:cmAuthor>
  <p:cmAuthor id="5" name="Michael Kurtz" initials="MK" lastIdx="1" clrIdx="5">
    <p:extLst>
      <p:ext uri="{19B8F6BF-5375-455C-9EA6-DF929625EA0E}">
        <p15:presenceInfo xmlns:p15="http://schemas.microsoft.com/office/powerpoint/2012/main" userId="S::de2007@linde.com::bacb7a66-6fae-45ba-a602-ce6370aeb5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46"/>
    <a:srgbClr val="8DDEFF"/>
    <a:srgbClr val="E8E9EB"/>
    <a:srgbClr val="C6EFFF"/>
    <a:srgbClr val="BFBFBF"/>
    <a:srgbClr val="FFFFFF"/>
    <a:srgbClr val="C3B1D6"/>
    <a:srgbClr val="A1D3EA"/>
    <a:srgbClr val="FFD200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C7BEAAE-8ABA-43F0-8D02-EA2C769172A3}" v="11" dt="2025-03-11T13:40:28.08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04" autoAdjust="0"/>
    <p:restoredTop sz="90393" autoAdjust="0"/>
  </p:normalViewPr>
  <p:slideViewPr>
    <p:cSldViewPr snapToGrid="0">
      <p:cViewPr>
        <p:scale>
          <a:sx n="60" d="100"/>
          <a:sy n="60" d="100"/>
        </p:scale>
        <p:origin x="1216" y="28"/>
      </p:cViewPr>
      <p:guideLst>
        <p:guide orient="horz" pos="935"/>
        <p:guide orient="horz" pos="4020"/>
        <p:guide pos="7408"/>
        <p:guide pos="272"/>
        <p:guide pos="3961"/>
        <p:guide pos="3840"/>
        <p:guide pos="3719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22" d="100"/>
        <a:sy n="122" d="100"/>
      </p:scale>
      <p:origin x="0" y="-4648"/>
    </p:cViewPr>
  </p:sorterViewPr>
  <p:notesViewPr>
    <p:cSldViewPr snapToGrid="0">
      <p:cViewPr>
        <p:scale>
          <a:sx n="1" d="2"/>
          <a:sy n="1" d="2"/>
        </p:scale>
        <p:origin x="3840" y="84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font" Target="fonts/font6.fntdata"/><Relationship Id="rId21" Type="http://schemas.openxmlformats.org/officeDocument/2006/relationships/font" Target="fonts/font1.fntdata"/><Relationship Id="rId34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font" Target="fonts/font5.fntdata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29" Type="http://schemas.openxmlformats.org/officeDocument/2006/relationships/font" Target="fonts/font9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font" Target="fonts/font4.fntdata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36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font" Target="fonts/font10.fntdata"/><Relationship Id="rId35" Type="http://schemas.openxmlformats.org/officeDocument/2006/relationships/theme" Target="theme/theme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onard Eynon" userId="180fd9b5-7fe2-4807-8f36-995e62d5f397" providerId="ADAL" clId="{FC7BEAAE-8ABA-43F0-8D02-EA2C769172A3}"/>
    <pc:docChg chg="undo custSel addSld delSld modSld sldOrd">
      <pc:chgData name="Leonard Eynon" userId="180fd9b5-7fe2-4807-8f36-995e62d5f397" providerId="ADAL" clId="{FC7BEAAE-8ABA-43F0-8D02-EA2C769172A3}" dt="2025-03-11T14:14:19.060" v="676" actId="6549"/>
      <pc:docMkLst>
        <pc:docMk/>
      </pc:docMkLst>
      <pc:sldChg chg="add">
        <pc:chgData name="Leonard Eynon" userId="180fd9b5-7fe2-4807-8f36-995e62d5f397" providerId="ADAL" clId="{FC7BEAAE-8ABA-43F0-8D02-EA2C769172A3}" dt="2025-03-11T13:34:31.254" v="646"/>
        <pc:sldMkLst>
          <pc:docMk/>
          <pc:sldMk cId="1381424677" sldId="840"/>
        </pc:sldMkLst>
      </pc:sldChg>
      <pc:sldChg chg="del">
        <pc:chgData name="Leonard Eynon" userId="180fd9b5-7fe2-4807-8f36-995e62d5f397" providerId="ADAL" clId="{FC7BEAAE-8ABA-43F0-8D02-EA2C769172A3}" dt="2025-03-10T02:19:45.602" v="2" actId="2696"/>
        <pc:sldMkLst>
          <pc:docMk/>
          <pc:sldMk cId="3036642666" sldId="2147470641"/>
        </pc:sldMkLst>
      </pc:sldChg>
      <pc:sldChg chg="del">
        <pc:chgData name="Leonard Eynon" userId="180fd9b5-7fe2-4807-8f36-995e62d5f397" providerId="ADAL" clId="{FC7BEAAE-8ABA-43F0-8D02-EA2C769172A3}" dt="2025-03-10T02:19:36.905" v="1" actId="2696"/>
        <pc:sldMkLst>
          <pc:docMk/>
          <pc:sldMk cId="1465078399" sldId="2147470642"/>
        </pc:sldMkLst>
      </pc:sldChg>
      <pc:sldChg chg="modSp mod modNotesTx">
        <pc:chgData name="Leonard Eynon" userId="180fd9b5-7fe2-4807-8f36-995e62d5f397" providerId="ADAL" clId="{FC7BEAAE-8ABA-43F0-8D02-EA2C769172A3}" dt="2025-03-11T14:11:54.198" v="672"/>
        <pc:sldMkLst>
          <pc:docMk/>
          <pc:sldMk cId="983614693" sldId="2147470643"/>
        </pc:sldMkLst>
        <pc:spChg chg="mod">
          <ac:chgData name="Leonard Eynon" userId="180fd9b5-7fe2-4807-8f36-995e62d5f397" providerId="ADAL" clId="{FC7BEAAE-8ABA-43F0-8D02-EA2C769172A3}" dt="2025-03-11T13:27:48.798" v="645" actId="20577"/>
          <ac:spMkLst>
            <pc:docMk/>
            <pc:sldMk cId="983614693" sldId="2147470643"/>
            <ac:spMk id="6" creationId="{42E595BC-A25B-9755-B2BD-D16EC0D4FCEE}"/>
          </ac:spMkLst>
        </pc:spChg>
      </pc:sldChg>
      <pc:sldChg chg="modSp mod">
        <pc:chgData name="Leonard Eynon" userId="180fd9b5-7fe2-4807-8f36-995e62d5f397" providerId="ADAL" clId="{FC7BEAAE-8ABA-43F0-8D02-EA2C769172A3}" dt="2025-03-11T03:27:10.510" v="618" actId="20577"/>
        <pc:sldMkLst>
          <pc:docMk/>
          <pc:sldMk cId="651764782" sldId="2147470644"/>
        </pc:sldMkLst>
        <pc:spChg chg="mod">
          <ac:chgData name="Leonard Eynon" userId="180fd9b5-7fe2-4807-8f36-995e62d5f397" providerId="ADAL" clId="{FC7BEAAE-8ABA-43F0-8D02-EA2C769172A3}" dt="2025-03-11T03:27:10.510" v="618" actId="20577"/>
          <ac:spMkLst>
            <pc:docMk/>
            <pc:sldMk cId="651764782" sldId="2147470644"/>
            <ac:spMk id="7" creationId="{50876D60-4BA3-1A0F-E7B1-09EB89B2196F}"/>
          </ac:spMkLst>
        </pc:spChg>
      </pc:sldChg>
      <pc:sldChg chg="modSp ord">
        <pc:chgData name="Leonard Eynon" userId="180fd9b5-7fe2-4807-8f36-995e62d5f397" providerId="ADAL" clId="{FC7BEAAE-8ABA-43F0-8D02-EA2C769172A3}" dt="2025-03-11T13:40:28.081" v="647" actId="113"/>
        <pc:sldMkLst>
          <pc:docMk/>
          <pc:sldMk cId="1100281681" sldId="2147470645"/>
        </pc:sldMkLst>
        <pc:graphicFrameChg chg="mod">
          <ac:chgData name="Leonard Eynon" userId="180fd9b5-7fe2-4807-8f36-995e62d5f397" providerId="ADAL" clId="{FC7BEAAE-8ABA-43F0-8D02-EA2C769172A3}" dt="2025-03-11T13:40:28.081" v="647" actId="113"/>
          <ac:graphicFrameMkLst>
            <pc:docMk/>
            <pc:sldMk cId="1100281681" sldId="2147470645"/>
            <ac:graphicFrameMk id="16" creationId="{43FA8CE2-1635-8583-2FC5-74CCCE430A8B}"/>
          </ac:graphicFrameMkLst>
        </pc:graphicFrameChg>
      </pc:sldChg>
      <pc:sldChg chg="modSp mod">
        <pc:chgData name="Leonard Eynon" userId="180fd9b5-7fe2-4807-8f36-995e62d5f397" providerId="ADAL" clId="{FC7BEAAE-8ABA-43F0-8D02-EA2C769172A3}" dt="2025-03-11T02:34:06.472" v="587" actId="20577"/>
        <pc:sldMkLst>
          <pc:docMk/>
          <pc:sldMk cId="316828854" sldId="2147470649"/>
        </pc:sldMkLst>
        <pc:spChg chg="mod">
          <ac:chgData name="Leonard Eynon" userId="180fd9b5-7fe2-4807-8f36-995e62d5f397" providerId="ADAL" clId="{FC7BEAAE-8ABA-43F0-8D02-EA2C769172A3}" dt="2025-03-11T02:34:06.472" v="587" actId="20577"/>
          <ac:spMkLst>
            <pc:docMk/>
            <pc:sldMk cId="316828854" sldId="2147470649"/>
            <ac:spMk id="3" creationId="{CC0AC695-8575-F54A-5EB9-819F01CC16EE}"/>
          </ac:spMkLst>
        </pc:spChg>
      </pc:sldChg>
      <pc:sldChg chg="modSp mod">
        <pc:chgData name="Leonard Eynon" userId="180fd9b5-7fe2-4807-8f36-995e62d5f397" providerId="ADAL" clId="{FC7BEAAE-8ABA-43F0-8D02-EA2C769172A3}" dt="2025-03-11T12:43:42.456" v="637" actId="313"/>
        <pc:sldMkLst>
          <pc:docMk/>
          <pc:sldMk cId="1326905360" sldId="2147470653"/>
        </pc:sldMkLst>
        <pc:spChg chg="mod">
          <ac:chgData name="Leonard Eynon" userId="180fd9b5-7fe2-4807-8f36-995e62d5f397" providerId="ADAL" clId="{FC7BEAAE-8ABA-43F0-8D02-EA2C769172A3}" dt="2025-03-11T12:43:42.456" v="637" actId="313"/>
          <ac:spMkLst>
            <pc:docMk/>
            <pc:sldMk cId="1326905360" sldId="2147470653"/>
            <ac:spMk id="3" creationId="{6065F840-121C-B523-3E57-4BDD5F4B4766}"/>
          </ac:spMkLst>
        </pc:spChg>
      </pc:sldChg>
      <pc:sldChg chg="del">
        <pc:chgData name="Leonard Eynon" userId="180fd9b5-7fe2-4807-8f36-995e62d5f397" providerId="ADAL" clId="{FC7BEAAE-8ABA-43F0-8D02-EA2C769172A3}" dt="2025-03-10T02:21:51.865" v="6" actId="47"/>
        <pc:sldMkLst>
          <pc:docMk/>
          <pc:sldMk cId="228594171" sldId="2147470658"/>
        </pc:sldMkLst>
      </pc:sldChg>
      <pc:sldChg chg="add del">
        <pc:chgData name="Leonard Eynon" userId="180fd9b5-7fe2-4807-8f36-995e62d5f397" providerId="ADAL" clId="{FC7BEAAE-8ABA-43F0-8D02-EA2C769172A3}" dt="2025-03-10T02:22:39.462" v="13" actId="2696"/>
        <pc:sldMkLst>
          <pc:docMk/>
          <pc:sldMk cId="1288478311" sldId="2147470659"/>
        </pc:sldMkLst>
      </pc:sldChg>
      <pc:sldChg chg="modSp mod">
        <pc:chgData name="Leonard Eynon" userId="180fd9b5-7fe2-4807-8f36-995e62d5f397" providerId="ADAL" clId="{FC7BEAAE-8ABA-43F0-8D02-EA2C769172A3}" dt="2025-03-11T03:26:35.064" v="609" actId="20577"/>
        <pc:sldMkLst>
          <pc:docMk/>
          <pc:sldMk cId="3789211077" sldId="2147470666"/>
        </pc:sldMkLst>
        <pc:spChg chg="mod">
          <ac:chgData name="Leonard Eynon" userId="180fd9b5-7fe2-4807-8f36-995e62d5f397" providerId="ADAL" clId="{FC7BEAAE-8ABA-43F0-8D02-EA2C769172A3}" dt="2025-03-11T03:26:35.064" v="609" actId="20577"/>
          <ac:spMkLst>
            <pc:docMk/>
            <pc:sldMk cId="3789211077" sldId="2147470666"/>
            <ac:spMk id="7" creationId="{50876D60-4BA3-1A0F-E7B1-09EB89B2196F}"/>
          </ac:spMkLst>
        </pc:spChg>
      </pc:sldChg>
      <pc:sldChg chg="addSp delSp modSp mod modNotesTx">
        <pc:chgData name="Leonard Eynon" userId="180fd9b5-7fe2-4807-8f36-995e62d5f397" providerId="ADAL" clId="{FC7BEAAE-8ABA-43F0-8D02-EA2C769172A3}" dt="2025-03-11T14:14:19.060" v="676" actId="6549"/>
        <pc:sldMkLst>
          <pc:docMk/>
          <pc:sldMk cId="203076658" sldId="2147470667"/>
        </pc:sldMkLst>
        <pc:spChg chg="mod">
          <ac:chgData name="Leonard Eynon" userId="180fd9b5-7fe2-4807-8f36-995e62d5f397" providerId="ADAL" clId="{FC7BEAAE-8ABA-43F0-8D02-EA2C769172A3}" dt="2025-03-11T13:42:31.024" v="670" actId="20577"/>
          <ac:spMkLst>
            <pc:docMk/>
            <pc:sldMk cId="203076658" sldId="2147470667"/>
            <ac:spMk id="3" creationId="{CC0AC695-8575-F54A-5EB9-819F01CC16EE}"/>
          </ac:spMkLst>
        </pc:spChg>
        <pc:spChg chg="add del">
          <ac:chgData name="Leonard Eynon" userId="180fd9b5-7fe2-4807-8f36-995e62d5f397" providerId="ADAL" clId="{FC7BEAAE-8ABA-43F0-8D02-EA2C769172A3}" dt="2025-03-11T14:12:15.525" v="674" actId="22"/>
          <ac:spMkLst>
            <pc:docMk/>
            <pc:sldMk cId="203076658" sldId="2147470667"/>
            <ac:spMk id="6" creationId="{64288C99-E50B-E4FA-0A4C-D428290E1B59}"/>
          </ac:spMkLst>
        </pc:spChg>
      </pc:sldChg>
      <pc:sldChg chg="addSp delSp modSp add mod">
        <pc:chgData name="Leonard Eynon" userId="180fd9b5-7fe2-4807-8f36-995e62d5f397" providerId="ADAL" clId="{FC7BEAAE-8ABA-43F0-8D02-EA2C769172A3}" dt="2025-03-11T13:03:04.380" v="639" actId="14100"/>
        <pc:sldMkLst>
          <pc:docMk/>
          <pc:sldMk cId="1553519337" sldId="2147470668"/>
        </pc:sldMkLst>
        <pc:spChg chg="del mod">
          <ac:chgData name="Leonard Eynon" userId="180fd9b5-7fe2-4807-8f36-995e62d5f397" providerId="ADAL" clId="{FC7BEAAE-8ABA-43F0-8D02-EA2C769172A3}" dt="2025-03-11T01:10:36.774" v="478" actId="21"/>
          <ac:spMkLst>
            <pc:docMk/>
            <pc:sldMk cId="1553519337" sldId="2147470668"/>
            <ac:spMk id="7" creationId="{1ABECC06-BB77-C3EB-CEED-A4863776C071}"/>
          </ac:spMkLst>
        </pc:spChg>
        <pc:spChg chg="mod">
          <ac:chgData name="Leonard Eynon" userId="180fd9b5-7fe2-4807-8f36-995e62d5f397" providerId="ADAL" clId="{FC7BEAAE-8ABA-43F0-8D02-EA2C769172A3}" dt="2025-03-11T13:03:04.380" v="639" actId="14100"/>
          <ac:spMkLst>
            <pc:docMk/>
            <pc:sldMk cId="1553519337" sldId="2147470668"/>
            <ac:spMk id="10" creationId="{6B8BE325-A1E4-815A-0379-B15D001FE9FE}"/>
          </ac:spMkLst>
        </pc:spChg>
        <pc:spChg chg="add mod">
          <ac:chgData name="Leonard Eynon" userId="180fd9b5-7fe2-4807-8f36-995e62d5f397" providerId="ADAL" clId="{FC7BEAAE-8ABA-43F0-8D02-EA2C769172A3}" dt="2025-03-11T01:10:52.314" v="480" actId="255"/>
          <ac:spMkLst>
            <pc:docMk/>
            <pc:sldMk cId="1553519337" sldId="2147470668"/>
            <ac:spMk id="11" creationId="{2DC40794-22B7-328F-B263-248929FFC101}"/>
          </ac:spMkLst>
        </pc:spChg>
        <pc:spChg chg="mod">
          <ac:chgData name="Leonard Eynon" userId="180fd9b5-7fe2-4807-8f36-995e62d5f397" providerId="ADAL" clId="{FC7BEAAE-8ABA-43F0-8D02-EA2C769172A3}" dt="2025-03-11T01:12:49.647" v="520" actId="1076"/>
          <ac:spMkLst>
            <pc:docMk/>
            <pc:sldMk cId="1553519337" sldId="2147470668"/>
            <ac:spMk id="12" creationId="{0155294C-207D-A1CB-883E-2282B2FB3C39}"/>
          </ac:spMkLst>
        </pc:spChg>
        <pc:spChg chg="mod">
          <ac:chgData name="Leonard Eynon" userId="180fd9b5-7fe2-4807-8f36-995e62d5f397" providerId="ADAL" clId="{FC7BEAAE-8ABA-43F0-8D02-EA2C769172A3}" dt="2025-03-11T01:10:09.257" v="475" actId="1076"/>
          <ac:spMkLst>
            <pc:docMk/>
            <pc:sldMk cId="1553519337" sldId="2147470668"/>
            <ac:spMk id="13" creationId="{A6E5E54E-A624-A376-CA06-78EEDD5640FC}"/>
          </ac:spMkLst>
        </pc:spChg>
        <pc:spChg chg="mod">
          <ac:chgData name="Leonard Eynon" userId="180fd9b5-7fe2-4807-8f36-995e62d5f397" providerId="ADAL" clId="{FC7BEAAE-8ABA-43F0-8D02-EA2C769172A3}" dt="2025-03-11T01:12:56.666" v="522" actId="1076"/>
          <ac:spMkLst>
            <pc:docMk/>
            <pc:sldMk cId="1553519337" sldId="2147470668"/>
            <ac:spMk id="16" creationId="{5CE425FC-F0A6-46E1-586D-7356CA225BB3}"/>
          </ac:spMkLst>
        </pc:spChg>
        <pc:spChg chg="mod">
          <ac:chgData name="Leonard Eynon" userId="180fd9b5-7fe2-4807-8f36-995e62d5f397" providerId="ADAL" clId="{FC7BEAAE-8ABA-43F0-8D02-EA2C769172A3}" dt="2025-03-11T01:12:43.756" v="518" actId="1076"/>
          <ac:spMkLst>
            <pc:docMk/>
            <pc:sldMk cId="1553519337" sldId="2147470668"/>
            <ac:spMk id="17" creationId="{7FFF882E-AB8E-BC4F-C4B1-F2E7A78486C1}"/>
          </ac:spMkLst>
        </pc:spChg>
        <pc:spChg chg="mod">
          <ac:chgData name="Leonard Eynon" userId="180fd9b5-7fe2-4807-8f36-995e62d5f397" providerId="ADAL" clId="{FC7BEAAE-8ABA-43F0-8D02-EA2C769172A3}" dt="2025-03-11T01:11:52.077" v="494" actId="1076"/>
          <ac:spMkLst>
            <pc:docMk/>
            <pc:sldMk cId="1553519337" sldId="2147470668"/>
            <ac:spMk id="18" creationId="{EA9DAEA5-8886-D8ED-4E23-D4D8A8A2AAEA}"/>
          </ac:spMkLst>
        </pc:spChg>
        <pc:spChg chg="mod">
          <ac:chgData name="Leonard Eynon" userId="180fd9b5-7fe2-4807-8f36-995e62d5f397" providerId="ADAL" clId="{FC7BEAAE-8ABA-43F0-8D02-EA2C769172A3}" dt="2025-03-11T03:28:38.951" v="627" actId="1076"/>
          <ac:spMkLst>
            <pc:docMk/>
            <pc:sldMk cId="1553519337" sldId="2147470668"/>
            <ac:spMk id="19" creationId="{EA0D2DB4-E623-5B65-96C7-D2D86F2B473E}"/>
          </ac:spMkLst>
        </pc:spChg>
        <pc:spChg chg="del">
          <ac:chgData name="Leonard Eynon" userId="180fd9b5-7fe2-4807-8f36-995e62d5f397" providerId="ADAL" clId="{FC7BEAAE-8ABA-43F0-8D02-EA2C769172A3}" dt="2025-03-11T01:13:02.645" v="523" actId="21"/>
          <ac:spMkLst>
            <pc:docMk/>
            <pc:sldMk cId="1553519337" sldId="2147470668"/>
            <ac:spMk id="27" creationId="{9B86347D-1499-6F20-F81C-A3D25AFF9A2D}"/>
          </ac:spMkLst>
        </pc:spChg>
        <pc:spChg chg="del">
          <ac:chgData name="Leonard Eynon" userId="180fd9b5-7fe2-4807-8f36-995e62d5f397" providerId="ADAL" clId="{FC7BEAAE-8ABA-43F0-8D02-EA2C769172A3}" dt="2025-03-11T01:13:06.644" v="524" actId="21"/>
          <ac:spMkLst>
            <pc:docMk/>
            <pc:sldMk cId="1553519337" sldId="2147470668"/>
            <ac:spMk id="30" creationId="{5F94E534-3F22-2582-97E4-92293ACB9B60}"/>
          </ac:spMkLst>
        </pc:spChg>
        <pc:spChg chg="mod">
          <ac:chgData name="Leonard Eynon" userId="180fd9b5-7fe2-4807-8f36-995e62d5f397" providerId="ADAL" clId="{FC7BEAAE-8ABA-43F0-8D02-EA2C769172A3}" dt="2025-03-10T19:43:25.576" v="203" actId="313"/>
          <ac:spMkLst>
            <pc:docMk/>
            <pc:sldMk cId="1553519337" sldId="2147470668"/>
            <ac:spMk id="159" creationId="{5304DBFC-2F70-2FF9-A671-FD22F34CAD3C}"/>
          </ac:spMkLst>
        </pc:spChg>
      </pc:sldChg>
      <pc:sldChg chg="modSp add mod">
        <pc:chgData name="Leonard Eynon" userId="180fd9b5-7fe2-4807-8f36-995e62d5f397" providerId="ADAL" clId="{FC7BEAAE-8ABA-43F0-8D02-EA2C769172A3}" dt="2025-03-11T12:30:20.718" v="629" actId="20577"/>
        <pc:sldMkLst>
          <pc:docMk/>
          <pc:sldMk cId="1397424107" sldId="2147470669"/>
        </pc:sldMkLst>
        <pc:graphicFrameChg chg="modGraphic">
          <ac:chgData name="Leonard Eynon" userId="180fd9b5-7fe2-4807-8f36-995e62d5f397" providerId="ADAL" clId="{FC7BEAAE-8ABA-43F0-8D02-EA2C769172A3}" dt="2025-03-11T12:30:20.718" v="629" actId="20577"/>
          <ac:graphicFrameMkLst>
            <pc:docMk/>
            <pc:sldMk cId="1397424107" sldId="2147470669"/>
            <ac:graphicFrameMk id="53" creationId="{00000000-0000-0000-0000-000000000000}"/>
          </ac:graphicFrameMkLst>
        </pc:graphicFrameChg>
      </pc:sldChg>
      <pc:sldChg chg="addSp delSp modSp add mod">
        <pc:chgData name="Leonard Eynon" userId="180fd9b5-7fe2-4807-8f36-995e62d5f397" providerId="ADAL" clId="{FC7BEAAE-8ABA-43F0-8D02-EA2C769172A3}" dt="2025-03-10T02:22:31.367" v="12"/>
        <pc:sldMkLst>
          <pc:docMk/>
          <pc:sldMk cId="1901620699" sldId="2147470670"/>
        </pc:sldMkLst>
        <pc:spChg chg="add del">
          <ac:chgData name="Leonard Eynon" userId="180fd9b5-7fe2-4807-8f36-995e62d5f397" providerId="ADAL" clId="{FC7BEAAE-8ABA-43F0-8D02-EA2C769172A3}" dt="2025-03-10T02:22:23.678" v="11" actId="22"/>
          <ac:spMkLst>
            <pc:docMk/>
            <pc:sldMk cId="1901620699" sldId="2147470670"/>
            <ac:spMk id="7" creationId="{26FEF4E9-916E-A90A-75D6-784379BC9734}"/>
          </ac:spMkLst>
        </pc:spChg>
        <pc:spChg chg="add mod">
          <ac:chgData name="Leonard Eynon" userId="180fd9b5-7fe2-4807-8f36-995e62d5f397" providerId="ADAL" clId="{FC7BEAAE-8ABA-43F0-8D02-EA2C769172A3}" dt="2025-03-10T02:22:31.367" v="12"/>
          <ac:spMkLst>
            <pc:docMk/>
            <pc:sldMk cId="1901620699" sldId="2147470670"/>
            <ac:spMk id="8" creationId="{46378A84-94C6-E30C-640D-6A088ADD6C84}"/>
          </ac:spMkLst>
        </pc:spChg>
      </pc:sldChg>
      <pc:sldChg chg="add del ord">
        <pc:chgData name="Leonard Eynon" userId="180fd9b5-7fe2-4807-8f36-995e62d5f397" providerId="ADAL" clId="{FC7BEAAE-8ABA-43F0-8D02-EA2C769172A3}" dt="2025-03-10T02:23:22.038" v="18"/>
        <pc:sldMkLst>
          <pc:docMk/>
          <pc:sldMk cId="3515889312" sldId="2147470671"/>
        </pc:sldMkLst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21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image" Target="../media/image10.svg"/><Relationship Id="rId1" Type="http://schemas.openxmlformats.org/officeDocument/2006/relationships/image" Target="../media/image9.png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Relationship Id="rId14" Type="http://schemas.openxmlformats.org/officeDocument/2006/relationships/image" Target="../media/image22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21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image" Target="../media/image10.svg"/><Relationship Id="rId1" Type="http://schemas.openxmlformats.org/officeDocument/2006/relationships/image" Target="../media/image9.png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Relationship Id="rId14" Type="http://schemas.openxmlformats.org/officeDocument/2006/relationships/image" Target="../media/image22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A20CA5A-96B7-402D-AE1D-FA8072F4BAB2}" type="doc">
      <dgm:prSet loTypeId="urn:microsoft.com/office/officeart/2018/5/layout/IconCircleLabel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1F26726B-FF6D-4470-BB28-C9E7D9C0C20B}">
      <dgm:prSet/>
      <dgm:spPr/>
      <dgm:t>
        <a:bodyPr/>
        <a:lstStyle/>
        <a:p>
          <a:pPr>
            <a:defRPr cap="all"/>
          </a:pPr>
          <a:r>
            <a:rPr lang="en-GB"/>
            <a:t>Purpose/questions that will be answered:</a:t>
          </a:r>
          <a:endParaRPr lang="en-US"/>
        </a:p>
      </dgm:t>
    </dgm:pt>
    <dgm:pt modelId="{9C97AA59-0FCB-4EBF-A21F-4C86FD8AD3FB}" type="parTrans" cxnId="{3F44618D-21EF-473C-9B90-A0C5BBECC1A4}">
      <dgm:prSet/>
      <dgm:spPr/>
      <dgm:t>
        <a:bodyPr/>
        <a:lstStyle/>
        <a:p>
          <a:endParaRPr lang="en-US"/>
        </a:p>
      </dgm:t>
    </dgm:pt>
    <dgm:pt modelId="{A1C11B79-B5A6-4A40-AEFE-4F2DC7D55855}" type="sibTrans" cxnId="{3F44618D-21EF-473C-9B90-A0C5BBECC1A4}">
      <dgm:prSet/>
      <dgm:spPr/>
      <dgm:t>
        <a:bodyPr/>
        <a:lstStyle/>
        <a:p>
          <a:endParaRPr lang="en-US"/>
        </a:p>
      </dgm:t>
    </dgm:pt>
    <dgm:pt modelId="{B71043D6-F586-410B-99E3-A16D399D498D}">
      <dgm:prSet/>
      <dgm:spPr/>
      <dgm:t>
        <a:bodyPr/>
        <a:lstStyle/>
        <a:p>
          <a:pPr>
            <a:defRPr cap="all"/>
          </a:pPr>
          <a:r>
            <a:rPr lang="en-GB"/>
            <a:t>What are Satellite systems</a:t>
          </a:r>
          <a:endParaRPr lang="en-US"/>
        </a:p>
      </dgm:t>
    </dgm:pt>
    <dgm:pt modelId="{92FCE5EC-A6C7-4F6A-979B-A076AA7BE602}" type="parTrans" cxnId="{E78DD34A-A3B6-48C8-8F08-2D7CF350730A}">
      <dgm:prSet/>
      <dgm:spPr/>
      <dgm:t>
        <a:bodyPr/>
        <a:lstStyle/>
        <a:p>
          <a:endParaRPr lang="en-US"/>
        </a:p>
      </dgm:t>
    </dgm:pt>
    <dgm:pt modelId="{E19F6371-6607-488C-8FA7-10B3635C2012}" type="sibTrans" cxnId="{E78DD34A-A3B6-48C8-8F08-2D7CF350730A}">
      <dgm:prSet/>
      <dgm:spPr/>
      <dgm:t>
        <a:bodyPr/>
        <a:lstStyle/>
        <a:p>
          <a:endParaRPr lang="en-US"/>
        </a:p>
      </dgm:t>
    </dgm:pt>
    <dgm:pt modelId="{A6356538-D701-43CF-AC83-04F58C5A692A}">
      <dgm:prSet/>
      <dgm:spPr/>
      <dgm:t>
        <a:bodyPr/>
        <a:lstStyle/>
        <a:p>
          <a:pPr>
            <a:defRPr cap="all"/>
          </a:pPr>
          <a:r>
            <a:rPr lang="en-GB"/>
            <a:t>Why are we testing</a:t>
          </a:r>
          <a:endParaRPr lang="en-US"/>
        </a:p>
      </dgm:t>
    </dgm:pt>
    <dgm:pt modelId="{76DCC8C8-4265-4462-B418-E15B3AF8E5D4}" type="parTrans" cxnId="{CF6C4DA7-4F32-48D0-ADE5-7C69E311B29D}">
      <dgm:prSet/>
      <dgm:spPr/>
      <dgm:t>
        <a:bodyPr/>
        <a:lstStyle/>
        <a:p>
          <a:endParaRPr lang="en-US"/>
        </a:p>
      </dgm:t>
    </dgm:pt>
    <dgm:pt modelId="{33CF6BDF-8AB7-4CE1-9B26-D3D25E4D8A3D}" type="sibTrans" cxnId="{CF6C4DA7-4F32-48D0-ADE5-7C69E311B29D}">
      <dgm:prSet/>
      <dgm:spPr/>
      <dgm:t>
        <a:bodyPr/>
        <a:lstStyle/>
        <a:p>
          <a:endParaRPr lang="en-US"/>
        </a:p>
      </dgm:t>
    </dgm:pt>
    <dgm:pt modelId="{B9CFD6B1-8377-45B8-97C8-86BE4F8087A2}">
      <dgm:prSet/>
      <dgm:spPr/>
      <dgm:t>
        <a:bodyPr/>
        <a:lstStyle/>
        <a:p>
          <a:pPr>
            <a:defRPr cap="all"/>
          </a:pPr>
          <a:r>
            <a:rPr lang="en-GB"/>
            <a:t>Identify the test phases and the corresponding preparation phases </a:t>
          </a:r>
          <a:endParaRPr lang="en-US"/>
        </a:p>
      </dgm:t>
    </dgm:pt>
    <dgm:pt modelId="{2F11F0A5-7FD8-4D30-921C-497883679612}" type="parTrans" cxnId="{65FADA05-EAB8-4CBF-81DB-21415945187D}">
      <dgm:prSet/>
      <dgm:spPr/>
      <dgm:t>
        <a:bodyPr/>
        <a:lstStyle/>
        <a:p>
          <a:endParaRPr lang="en-US"/>
        </a:p>
      </dgm:t>
    </dgm:pt>
    <dgm:pt modelId="{5A917741-6EBA-4A4B-8985-9C556DCD68B0}" type="sibTrans" cxnId="{65FADA05-EAB8-4CBF-81DB-21415945187D}">
      <dgm:prSet/>
      <dgm:spPr/>
      <dgm:t>
        <a:bodyPr/>
        <a:lstStyle/>
        <a:p>
          <a:endParaRPr lang="en-US"/>
        </a:p>
      </dgm:t>
    </dgm:pt>
    <dgm:pt modelId="{A63ADEDA-5A0A-462A-A4FA-7618CC392E15}">
      <dgm:prSet/>
      <dgm:spPr/>
      <dgm:t>
        <a:bodyPr/>
        <a:lstStyle/>
        <a:p>
          <a:pPr>
            <a:defRPr cap="all"/>
          </a:pPr>
          <a:r>
            <a:rPr lang="en-GB" dirty="0"/>
            <a:t>What is the purpose/reasoning for the various phases</a:t>
          </a:r>
          <a:endParaRPr lang="en-US" dirty="0"/>
        </a:p>
      </dgm:t>
    </dgm:pt>
    <dgm:pt modelId="{60C78B7F-00D5-4344-8413-A59786E32003}" type="parTrans" cxnId="{BEEE984D-3B2E-48FF-8CA5-11EAB8364634}">
      <dgm:prSet/>
      <dgm:spPr/>
      <dgm:t>
        <a:bodyPr/>
        <a:lstStyle/>
        <a:p>
          <a:endParaRPr lang="en-US"/>
        </a:p>
      </dgm:t>
    </dgm:pt>
    <dgm:pt modelId="{3FA74D88-C1C4-4491-8320-9E3524C5E2C8}" type="sibTrans" cxnId="{BEEE984D-3B2E-48FF-8CA5-11EAB8364634}">
      <dgm:prSet/>
      <dgm:spPr/>
      <dgm:t>
        <a:bodyPr/>
        <a:lstStyle/>
        <a:p>
          <a:endParaRPr lang="en-US"/>
        </a:p>
      </dgm:t>
    </dgm:pt>
    <dgm:pt modelId="{D4D6C4F4-B116-4287-9EF4-BC0B274FB5E4}">
      <dgm:prSet/>
      <dgm:spPr/>
      <dgm:t>
        <a:bodyPr/>
        <a:lstStyle/>
        <a:p>
          <a:pPr>
            <a:defRPr cap="all"/>
          </a:pPr>
          <a:r>
            <a:rPr lang="en-GB"/>
            <a:t>The timing and duration of the phases</a:t>
          </a:r>
          <a:endParaRPr lang="en-US"/>
        </a:p>
      </dgm:t>
    </dgm:pt>
    <dgm:pt modelId="{B5861F9B-CDE7-4546-B7DB-ED6DF6B492C4}" type="parTrans" cxnId="{0BDCEDAF-3965-40D6-AA6E-98C2E217D9B7}">
      <dgm:prSet/>
      <dgm:spPr/>
      <dgm:t>
        <a:bodyPr/>
        <a:lstStyle/>
        <a:p>
          <a:endParaRPr lang="en-US"/>
        </a:p>
      </dgm:t>
    </dgm:pt>
    <dgm:pt modelId="{A43FE2FC-29D2-4A51-BF6F-5C3B58826453}" type="sibTrans" cxnId="{0BDCEDAF-3965-40D6-AA6E-98C2E217D9B7}">
      <dgm:prSet/>
      <dgm:spPr/>
      <dgm:t>
        <a:bodyPr/>
        <a:lstStyle/>
        <a:p>
          <a:endParaRPr lang="en-US"/>
        </a:p>
      </dgm:t>
    </dgm:pt>
    <dgm:pt modelId="{68D83BD6-3E33-4C9C-B390-024044AE0BF9}">
      <dgm:prSet/>
      <dgm:spPr/>
      <dgm:t>
        <a:bodyPr/>
        <a:lstStyle/>
        <a:p>
          <a:pPr>
            <a:defRPr cap="all"/>
          </a:pPr>
          <a:r>
            <a:rPr lang="en-GB" b="0" dirty="0"/>
            <a:t>What do we need from you</a:t>
          </a:r>
          <a:endParaRPr lang="en-US" b="0" dirty="0"/>
        </a:p>
      </dgm:t>
    </dgm:pt>
    <dgm:pt modelId="{DB5FB961-32DF-4330-A4D3-4AABE3FF92DE}" type="parTrans" cxnId="{B129B66C-F91A-4531-B4D8-5E0C8336D876}">
      <dgm:prSet/>
      <dgm:spPr/>
      <dgm:t>
        <a:bodyPr/>
        <a:lstStyle/>
        <a:p>
          <a:endParaRPr lang="en-US"/>
        </a:p>
      </dgm:t>
    </dgm:pt>
    <dgm:pt modelId="{FE77F232-545A-42B4-95B0-E4442869C43B}" type="sibTrans" cxnId="{B129B66C-F91A-4531-B4D8-5E0C8336D876}">
      <dgm:prSet/>
      <dgm:spPr/>
      <dgm:t>
        <a:bodyPr/>
        <a:lstStyle/>
        <a:p>
          <a:endParaRPr lang="en-US"/>
        </a:p>
      </dgm:t>
    </dgm:pt>
    <dgm:pt modelId="{CA0AF97E-E048-4A15-B089-016F18098141}" type="pres">
      <dgm:prSet presAssocID="{7A20CA5A-96B7-402D-AE1D-FA8072F4BAB2}" presName="root" presStyleCnt="0">
        <dgm:presLayoutVars>
          <dgm:dir/>
          <dgm:resizeHandles val="exact"/>
        </dgm:presLayoutVars>
      </dgm:prSet>
      <dgm:spPr/>
    </dgm:pt>
    <dgm:pt modelId="{F8395203-4BB4-4D9A-A130-7427E78FCE3C}" type="pres">
      <dgm:prSet presAssocID="{1F26726B-FF6D-4470-BB28-C9E7D9C0C20B}" presName="compNode" presStyleCnt="0"/>
      <dgm:spPr/>
    </dgm:pt>
    <dgm:pt modelId="{D8DF9E3E-B66E-403F-8BEB-A6F36E07CA1F}" type="pres">
      <dgm:prSet presAssocID="{1F26726B-FF6D-4470-BB28-C9E7D9C0C20B}" presName="iconBgRect" presStyleLbl="bgShp" presStyleIdx="0" presStyleCnt="7"/>
      <dgm:spPr/>
    </dgm:pt>
    <dgm:pt modelId="{B1C84E47-8DB0-4B03-9D43-542017001EC6}" type="pres">
      <dgm:prSet presAssocID="{1F26726B-FF6D-4470-BB28-C9E7D9C0C20B}" presName="iconRect" presStyleLbl="node1" presStyleIdx="0" presStyleCnt="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Question mark"/>
        </a:ext>
      </dgm:extLst>
    </dgm:pt>
    <dgm:pt modelId="{4C39138E-A482-4779-AE73-42FD1626B5F6}" type="pres">
      <dgm:prSet presAssocID="{1F26726B-FF6D-4470-BB28-C9E7D9C0C20B}" presName="spaceRect" presStyleCnt="0"/>
      <dgm:spPr/>
    </dgm:pt>
    <dgm:pt modelId="{F319FCE2-1F0A-4F45-A3B9-4E5F116CBD8F}" type="pres">
      <dgm:prSet presAssocID="{1F26726B-FF6D-4470-BB28-C9E7D9C0C20B}" presName="textRect" presStyleLbl="revTx" presStyleIdx="0" presStyleCnt="7">
        <dgm:presLayoutVars>
          <dgm:chMax val="1"/>
          <dgm:chPref val="1"/>
        </dgm:presLayoutVars>
      </dgm:prSet>
      <dgm:spPr/>
    </dgm:pt>
    <dgm:pt modelId="{06A6B120-7D08-41D9-B594-591C4443EA19}" type="pres">
      <dgm:prSet presAssocID="{A1C11B79-B5A6-4A40-AEFE-4F2DC7D55855}" presName="sibTrans" presStyleCnt="0"/>
      <dgm:spPr/>
    </dgm:pt>
    <dgm:pt modelId="{5AD207AF-274A-4E89-96AB-B3BDE51CFF9D}" type="pres">
      <dgm:prSet presAssocID="{B71043D6-F586-410B-99E3-A16D399D498D}" presName="compNode" presStyleCnt="0"/>
      <dgm:spPr/>
    </dgm:pt>
    <dgm:pt modelId="{C4A4F82F-8289-4EC8-876D-BDADB9146C82}" type="pres">
      <dgm:prSet presAssocID="{B71043D6-F586-410B-99E3-A16D399D498D}" presName="iconBgRect" presStyleLbl="bgShp" presStyleIdx="1" presStyleCnt="7"/>
      <dgm:spPr/>
    </dgm:pt>
    <dgm:pt modelId="{3C6B25F9-241B-4DB5-B5FB-6FCF401D7545}" type="pres">
      <dgm:prSet presAssocID="{B71043D6-F586-410B-99E3-A16D399D498D}" presName="iconRect" presStyleLbl="node1" presStyleIdx="1" presStyleCnt="7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atellite"/>
        </a:ext>
      </dgm:extLst>
    </dgm:pt>
    <dgm:pt modelId="{37936CBC-CD9E-45D4-A3C0-0FCD8A8FFBC2}" type="pres">
      <dgm:prSet presAssocID="{B71043D6-F586-410B-99E3-A16D399D498D}" presName="spaceRect" presStyleCnt="0"/>
      <dgm:spPr/>
    </dgm:pt>
    <dgm:pt modelId="{5ACE12E1-7C71-4104-AA10-843974E5B1E0}" type="pres">
      <dgm:prSet presAssocID="{B71043D6-F586-410B-99E3-A16D399D498D}" presName="textRect" presStyleLbl="revTx" presStyleIdx="1" presStyleCnt="7">
        <dgm:presLayoutVars>
          <dgm:chMax val="1"/>
          <dgm:chPref val="1"/>
        </dgm:presLayoutVars>
      </dgm:prSet>
      <dgm:spPr/>
    </dgm:pt>
    <dgm:pt modelId="{BB346FD4-34B3-4DC0-A34D-9183F5C32DF0}" type="pres">
      <dgm:prSet presAssocID="{E19F6371-6607-488C-8FA7-10B3635C2012}" presName="sibTrans" presStyleCnt="0"/>
      <dgm:spPr/>
    </dgm:pt>
    <dgm:pt modelId="{E66FFE49-089A-4B47-995E-8823B2FE6F97}" type="pres">
      <dgm:prSet presAssocID="{A6356538-D701-43CF-AC83-04F58C5A692A}" presName="compNode" presStyleCnt="0"/>
      <dgm:spPr/>
    </dgm:pt>
    <dgm:pt modelId="{5298FFFD-89AE-44DC-8C9B-91EC9DDF5C4E}" type="pres">
      <dgm:prSet presAssocID="{A6356538-D701-43CF-AC83-04F58C5A692A}" presName="iconBgRect" presStyleLbl="bgShp" presStyleIdx="2" presStyleCnt="7"/>
      <dgm:spPr/>
    </dgm:pt>
    <dgm:pt modelId="{769F7270-322C-422B-880F-9FF4AA258873}" type="pres">
      <dgm:prSet presAssocID="{A6356538-D701-43CF-AC83-04F58C5A692A}" presName="iconRect" presStyleLbl="node1" presStyleIdx="2" presStyleCnt="7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7FE458F1-C5C7-441A-9638-078474FCE21A}" type="pres">
      <dgm:prSet presAssocID="{A6356538-D701-43CF-AC83-04F58C5A692A}" presName="spaceRect" presStyleCnt="0"/>
      <dgm:spPr/>
    </dgm:pt>
    <dgm:pt modelId="{8FD1F3D1-AA0F-487E-AAFA-A99B6E574BA5}" type="pres">
      <dgm:prSet presAssocID="{A6356538-D701-43CF-AC83-04F58C5A692A}" presName="textRect" presStyleLbl="revTx" presStyleIdx="2" presStyleCnt="7">
        <dgm:presLayoutVars>
          <dgm:chMax val="1"/>
          <dgm:chPref val="1"/>
        </dgm:presLayoutVars>
      </dgm:prSet>
      <dgm:spPr/>
    </dgm:pt>
    <dgm:pt modelId="{8C307794-8D68-4DF6-A1AC-8E3AC58D9FFD}" type="pres">
      <dgm:prSet presAssocID="{33CF6BDF-8AB7-4CE1-9B26-D3D25E4D8A3D}" presName="sibTrans" presStyleCnt="0"/>
      <dgm:spPr/>
    </dgm:pt>
    <dgm:pt modelId="{F4800C83-768F-41D3-A2EB-C6D04E3EC877}" type="pres">
      <dgm:prSet presAssocID="{B9CFD6B1-8377-45B8-97C8-86BE4F8087A2}" presName="compNode" presStyleCnt="0"/>
      <dgm:spPr/>
    </dgm:pt>
    <dgm:pt modelId="{150A859D-270C-4AA4-B57A-FF59E60F808C}" type="pres">
      <dgm:prSet presAssocID="{B9CFD6B1-8377-45B8-97C8-86BE4F8087A2}" presName="iconBgRect" presStyleLbl="bgShp" presStyleIdx="3" presStyleCnt="7"/>
      <dgm:spPr/>
    </dgm:pt>
    <dgm:pt modelId="{59B26F94-9F48-44EE-8919-F2D24C93731A}" type="pres">
      <dgm:prSet presAssocID="{B9CFD6B1-8377-45B8-97C8-86BE4F8087A2}" presName="iconRect" presStyleLbl="node1" presStyleIdx="3" presStyleCnt="7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 List"/>
        </a:ext>
      </dgm:extLst>
    </dgm:pt>
    <dgm:pt modelId="{DB6D52E5-69ED-4FA9-9E83-0C70F1E40E81}" type="pres">
      <dgm:prSet presAssocID="{B9CFD6B1-8377-45B8-97C8-86BE4F8087A2}" presName="spaceRect" presStyleCnt="0"/>
      <dgm:spPr/>
    </dgm:pt>
    <dgm:pt modelId="{C48407CC-CF1F-4C49-9C5E-2A6C36937419}" type="pres">
      <dgm:prSet presAssocID="{B9CFD6B1-8377-45B8-97C8-86BE4F8087A2}" presName="textRect" presStyleLbl="revTx" presStyleIdx="3" presStyleCnt="7">
        <dgm:presLayoutVars>
          <dgm:chMax val="1"/>
          <dgm:chPref val="1"/>
        </dgm:presLayoutVars>
      </dgm:prSet>
      <dgm:spPr/>
    </dgm:pt>
    <dgm:pt modelId="{BA9CD70F-4C73-401F-AF27-730BE9883D87}" type="pres">
      <dgm:prSet presAssocID="{5A917741-6EBA-4A4B-8985-9C556DCD68B0}" presName="sibTrans" presStyleCnt="0"/>
      <dgm:spPr/>
    </dgm:pt>
    <dgm:pt modelId="{B43AAF97-9BF3-4135-ABE1-8D402F631B52}" type="pres">
      <dgm:prSet presAssocID="{A63ADEDA-5A0A-462A-A4FA-7618CC392E15}" presName="compNode" presStyleCnt="0"/>
      <dgm:spPr/>
    </dgm:pt>
    <dgm:pt modelId="{CE9EE277-AEEE-41E3-B2F6-B5E157CE5C5E}" type="pres">
      <dgm:prSet presAssocID="{A63ADEDA-5A0A-462A-A4FA-7618CC392E15}" presName="iconBgRect" presStyleLbl="bgShp" presStyleIdx="4" presStyleCnt="7"/>
      <dgm:spPr/>
    </dgm:pt>
    <dgm:pt modelId="{41A66FB4-B2DF-4B67-B426-3C2D19794F2A}" type="pres">
      <dgm:prSet presAssocID="{A63ADEDA-5A0A-462A-A4FA-7618CC392E15}" presName="iconRect" presStyleLbl="node1" presStyleIdx="4" presStyleCnt="7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FD4BBEB5-2D70-41BD-80CC-CDB3EFFEF9BD}" type="pres">
      <dgm:prSet presAssocID="{A63ADEDA-5A0A-462A-A4FA-7618CC392E15}" presName="spaceRect" presStyleCnt="0"/>
      <dgm:spPr/>
    </dgm:pt>
    <dgm:pt modelId="{159D4C05-C552-441F-AB87-10F7CFB1E666}" type="pres">
      <dgm:prSet presAssocID="{A63ADEDA-5A0A-462A-A4FA-7618CC392E15}" presName="textRect" presStyleLbl="revTx" presStyleIdx="4" presStyleCnt="7">
        <dgm:presLayoutVars>
          <dgm:chMax val="1"/>
          <dgm:chPref val="1"/>
        </dgm:presLayoutVars>
      </dgm:prSet>
      <dgm:spPr/>
    </dgm:pt>
    <dgm:pt modelId="{5E9C531E-3597-4879-9AD4-EB554320B72D}" type="pres">
      <dgm:prSet presAssocID="{3FA74D88-C1C4-4491-8320-9E3524C5E2C8}" presName="sibTrans" presStyleCnt="0"/>
      <dgm:spPr/>
    </dgm:pt>
    <dgm:pt modelId="{1A0B2634-E93E-46D3-8058-614DFC73A2E9}" type="pres">
      <dgm:prSet presAssocID="{D4D6C4F4-B116-4287-9EF4-BC0B274FB5E4}" presName="compNode" presStyleCnt="0"/>
      <dgm:spPr/>
    </dgm:pt>
    <dgm:pt modelId="{DE09F75E-5989-4BE0-9F00-6BAB59BCFE39}" type="pres">
      <dgm:prSet presAssocID="{D4D6C4F4-B116-4287-9EF4-BC0B274FB5E4}" presName="iconBgRect" presStyleLbl="bgShp" presStyleIdx="5" presStyleCnt="7"/>
      <dgm:spPr/>
    </dgm:pt>
    <dgm:pt modelId="{978854CF-DF34-43D6-9B66-9F641B0F9602}" type="pres">
      <dgm:prSet presAssocID="{D4D6C4F4-B116-4287-9EF4-BC0B274FB5E4}" presName="iconRect" presStyleLbl="node1" presStyleIdx="5" presStyleCnt="7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opwatch"/>
        </a:ext>
      </dgm:extLst>
    </dgm:pt>
    <dgm:pt modelId="{252F9421-D3B2-4FD2-A13D-91061D637EF4}" type="pres">
      <dgm:prSet presAssocID="{D4D6C4F4-B116-4287-9EF4-BC0B274FB5E4}" presName="spaceRect" presStyleCnt="0"/>
      <dgm:spPr/>
    </dgm:pt>
    <dgm:pt modelId="{218A2DFA-F552-4B89-81FE-C9CE42876A08}" type="pres">
      <dgm:prSet presAssocID="{D4D6C4F4-B116-4287-9EF4-BC0B274FB5E4}" presName="textRect" presStyleLbl="revTx" presStyleIdx="5" presStyleCnt="7">
        <dgm:presLayoutVars>
          <dgm:chMax val="1"/>
          <dgm:chPref val="1"/>
        </dgm:presLayoutVars>
      </dgm:prSet>
      <dgm:spPr/>
    </dgm:pt>
    <dgm:pt modelId="{1A101415-1C6F-4C3A-9A17-C2944EFD2118}" type="pres">
      <dgm:prSet presAssocID="{A43FE2FC-29D2-4A51-BF6F-5C3B58826453}" presName="sibTrans" presStyleCnt="0"/>
      <dgm:spPr/>
    </dgm:pt>
    <dgm:pt modelId="{0D62B4AB-CEE4-4E9F-A752-E862D163DD40}" type="pres">
      <dgm:prSet presAssocID="{68D83BD6-3E33-4C9C-B390-024044AE0BF9}" presName="compNode" presStyleCnt="0"/>
      <dgm:spPr/>
    </dgm:pt>
    <dgm:pt modelId="{4DB1D1D1-01DC-4ABF-AC0F-6F258AE15AB6}" type="pres">
      <dgm:prSet presAssocID="{68D83BD6-3E33-4C9C-B390-024044AE0BF9}" presName="iconBgRect" presStyleLbl="bgShp" presStyleIdx="6" presStyleCnt="7"/>
      <dgm:spPr/>
    </dgm:pt>
    <dgm:pt modelId="{E987153D-6698-4C99-BC37-4BA2CA6616DA}" type="pres">
      <dgm:prSet presAssocID="{68D83BD6-3E33-4C9C-B390-024044AE0BF9}" presName="iconRect" presStyleLbl="node1" presStyleIdx="6" presStyleCnt="7"/>
      <dgm:spPr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lp"/>
        </a:ext>
      </dgm:extLst>
    </dgm:pt>
    <dgm:pt modelId="{241EF7AA-6613-424B-86F2-7FD850795A6C}" type="pres">
      <dgm:prSet presAssocID="{68D83BD6-3E33-4C9C-B390-024044AE0BF9}" presName="spaceRect" presStyleCnt="0"/>
      <dgm:spPr/>
    </dgm:pt>
    <dgm:pt modelId="{16F3E344-950D-449B-B8F8-DDC68F34EF00}" type="pres">
      <dgm:prSet presAssocID="{68D83BD6-3E33-4C9C-B390-024044AE0BF9}" presName="textRect" presStyleLbl="revTx" presStyleIdx="6" presStyleCnt="7">
        <dgm:presLayoutVars>
          <dgm:chMax val="1"/>
          <dgm:chPref val="1"/>
        </dgm:presLayoutVars>
      </dgm:prSet>
      <dgm:spPr/>
    </dgm:pt>
  </dgm:ptLst>
  <dgm:cxnLst>
    <dgm:cxn modelId="{65FADA05-EAB8-4CBF-81DB-21415945187D}" srcId="{7A20CA5A-96B7-402D-AE1D-FA8072F4BAB2}" destId="{B9CFD6B1-8377-45B8-97C8-86BE4F8087A2}" srcOrd="3" destOrd="0" parTransId="{2F11F0A5-7FD8-4D30-921C-497883679612}" sibTransId="{5A917741-6EBA-4A4B-8985-9C556DCD68B0}"/>
    <dgm:cxn modelId="{29114B11-A799-4036-8AC7-7C5C77BA4858}" type="presOf" srcId="{1F26726B-FF6D-4470-BB28-C9E7D9C0C20B}" destId="{F319FCE2-1F0A-4F45-A3B9-4E5F116CBD8F}" srcOrd="0" destOrd="0" presId="urn:microsoft.com/office/officeart/2018/5/layout/IconCircleLabelList"/>
    <dgm:cxn modelId="{CF5C4D1D-7AD3-4359-AFBA-B7B34032B7AB}" type="presOf" srcId="{B9CFD6B1-8377-45B8-97C8-86BE4F8087A2}" destId="{C48407CC-CF1F-4C49-9C5E-2A6C36937419}" srcOrd="0" destOrd="0" presId="urn:microsoft.com/office/officeart/2018/5/layout/IconCircleLabelList"/>
    <dgm:cxn modelId="{FC15BC20-4686-4A01-95D2-42C57B74916C}" type="presOf" srcId="{68D83BD6-3E33-4C9C-B390-024044AE0BF9}" destId="{16F3E344-950D-449B-B8F8-DDC68F34EF00}" srcOrd="0" destOrd="0" presId="urn:microsoft.com/office/officeart/2018/5/layout/IconCircleLabelList"/>
    <dgm:cxn modelId="{76BCAC22-601D-4A67-97A2-71FB4C4FC092}" type="presOf" srcId="{7A20CA5A-96B7-402D-AE1D-FA8072F4BAB2}" destId="{CA0AF97E-E048-4A15-B089-016F18098141}" srcOrd="0" destOrd="0" presId="urn:microsoft.com/office/officeart/2018/5/layout/IconCircleLabelList"/>
    <dgm:cxn modelId="{E78DD34A-A3B6-48C8-8F08-2D7CF350730A}" srcId="{7A20CA5A-96B7-402D-AE1D-FA8072F4BAB2}" destId="{B71043D6-F586-410B-99E3-A16D399D498D}" srcOrd="1" destOrd="0" parTransId="{92FCE5EC-A6C7-4F6A-979B-A076AA7BE602}" sibTransId="{E19F6371-6607-488C-8FA7-10B3635C2012}"/>
    <dgm:cxn modelId="{2FB2104C-4702-4DC5-99C0-FA573E6F832D}" type="presOf" srcId="{B71043D6-F586-410B-99E3-A16D399D498D}" destId="{5ACE12E1-7C71-4104-AA10-843974E5B1E0}" srcOrd="0" destOrd="0" presId="urn:microsoft.com/office/officeart/2018/5/layout/IconCircleLabelList"/>
    <dgm:cxn modelId="{B129B66C-F91A-4531-B4D8-5E0C8336D876}" srcId="{7A20CA5A-96B7-402D-AE1D-FA8072F4BAB2}" destId="{68D83BD6-3E33-4C9C-B390-024044AE0BF9}" srcOrd="6" destOrd="0" parTransId="{DB5FB961-32DF-4330-A4D3-4AABE3FF92DE}" sibTransId="{FE77F232-545A-42B4-95B0-E4442869C43B}"/>
    <dgm:cxn modelId="{BEEE984D-3B2E-48FF-8CA5-11EAB8364634}" srcId="{7A20CA5A-96B7-402D-AE1D-FA8072F4BAB2}" destId="{A63ADEDA-5A0A-462A-A4FA-7618CC392E15}" srcOrd="4" destOrd="0" parTransId="{60C78B7F-00D5-4344-8413-A59786E32003}" sibTransId="{3FA74D88-C1C4-4491-8320-9E3524C5E2C8}"/>
    <dgm:cxn modelId="{9513DE7E-7095-49C7-98B3-79033D6BD3FE}" type="presOf" srcId="{A6356538-D701-43CF-AC83-04F58C5A692A}" destId="{8FD1F3D1-AA0F-487E-AAFA-A99B6E574BA5}" srcOrd="0" destOrd="0" presId="urn:microsoft.com/office/officeart/2018/5/layout/IconCircleLabelList"/>
    <dgm:cxn modelId="{3F44618D-21EF-473C-9B90-A0C5BBECC1A4}" srcId="{7A20CA5A-96B7-402D-AE1D-FA8072F4BAB2}" destId="{1F26726B-FF6D-4470-BB28-C9E7D9C0C20B}" srcOrd="0" destOrd="0" parTransId="{9C97AA59-0FCB-4EBF-A21F-4C86FD8AD3FB}" sibTransId="{A1C11B79-B5A6-4A40-AEFE-4F2DC7D55855}"/>
    <dgm:cxn modelId="{CF6C4DA7-4F32-48D0-ADE5-7C69E311B29D}" srcId="{7A20CA5A-96B7-402D-AE1D-FA8072F4BAB2}" destId="{A6356538-D701-43CF-AC83-04F58C5A692A}" srcOrd="2" destOrd="0" parTransId="{76DCC8C8-4265-4462-B418-E15B3AF8E5D4}" sibTransId="{33CF6BDF-8AB7-4CE1-9B26-D3D25E4D8A3D}"/>
    <dgm:cxn modelId="{0BDCEDAF-3965-40D6-AA6E-98C2E217D9B7}" srcId="{7A20CA5A-96B7-402D-AE1D-FA8072F4BAB2}" destId="{D4D6C4F4-B116-4287-9EF4-BC0B274FB5E4}" srcOrd="5" destOrd="0" parTransId="{B5861F9B-CDE7-4546-B7DB-ED6DF6B492C4}" sibTransId="{A43FE2FC-29D2-4A51-BF6F-5C3B58826453}"/>
    <dgm:cxn modelId="{12BE92C2-9673-497A-9696-44A745B52A0A}" type="presOf" srcId="{D4D6C4F4-B116-4287-9EF4-BC0B274FB5E4}" destId="{218A2DFA-F552-4B89-81FE-C9CE42876A08}" srcOrd="0" destOrd="0" presId="urn:microsoft.com/office/officeart/2018/5/layout/IconCircleLabelList"/>
    <dgm:cxn modelId="{84DBA0D6-03FD-4B4E-A998-46CF254C9686}" type="presOf" srcId="{A63ADEDA-5A0A-462A-A4FA-7618CC392E15}" destId="{159D4C05-C552-441F-AB87-10F7CFB1E666}" srcOrd="0" destOrd="0" presId="urn:microsoft.com/office/officeart/2018/5/layout/IconCircleLabelList"/>
    <dgm:cxn modelId="{E02E6521-C425-4D19-97C9-ED9296C320CE}" type="presParOf" srcId="{CA0AF97E-E048-4A15-B089-016F18098141}" destId="{F8395203-4BB4-4D9A-A130-7427E78FCE3C}" srcOrd="0" destOrd="0" presId="urn:microsoft.com/office/officeart/2018/5/layout/IconCircleLabelList"/>
    <dgm:cxn modelId="{7864F34D-96F6-46F8-81A8-B2F2EAF70B50}" type="presParOf" srcId="{F8395203-4BB4-4D9A-A130-7427E78FCE3C}" destId="{D8DF9E3E-B66E-403F-8BEB-A6F36E07CA1F}" srcOrd="0" destOrd="0" presId="urn:microsoft.com/office/officeart/2018/5/layout/IconCircleLabelList"/>
    <dgm:cxn modelId="{4F973B27-6D7A-428C-8F57-DFA953F0F7D8}" type="presParOf" srcId="{F8395203-4BB4-4D9A-A130-7427E78FCE3C}" destId="{B1C84E47-8DB0-4B03-9D43-542017001EC6}" srcOrd="1" destOrd="0" presId="urn:microsoft.com/office/officeart/2018/5/layout/IconCircleLabelList"/>
    <dgm:cxn modelId="{9B944603-5AEC-41CF-A7B6-CC34ED81A81C}" type="presParOf" srcId="{F8395203-4BB4-4D9A-A130-7427E78FCE3C}" destId="{4C39138E-A482-4779-AE73-42FD1626B5F6}" srcOrd="2" destOrd="0" presId="urn:microsoft.com/office/officeart/2018/5/layout/IconCircleLabelList"/>
    <dgm:cxn modelId="{655DC6A7-4B14-4AC7-9BEF-83F634341533}" type="presParOf" srcId="{F8395203-4BB4-4D9A-A130-7427E78FCE3C}" destId="{F319FCE2-1F0A-4F45-A3B9-4E5F116CBD8F}" srcOrd="3" destOrd="0" presId="urn:microsoft.com/office/officeart/2018/5/layout/IconCircleLabelList"/>
    <dgm:cxn modelId="{5FD969CD-2114-46B2-A775-6725369750DF}" type="presParOf" srcId="{CA0AF97E-E048-4A15-B089-016F18098141}" destId="{06A6B120-7D08-41D9-B594-591C4443EA19}" srcOrd="1" destOrd="0" presId="urn:microsoft.com/office/officeart/2018/5/layout/IconCircleLabelList"/>
    <dgm:cxn modelId="{338FAF21-852A-4362-AE55-999D1633A59F}" type="presParOf" srcId="{CA0AF97E-E048-4A15-B089-016F18098141}" destId="{5AD207AF-274A-4E89-96AB-B3BDE51CFF9D}" srcOrd="2" destOrd="0" presId="urn:microsoft.com/office/officeart/2018/5/layout/IconCircleLabelList"/>
    <dgm:cxn modelId="{2C78DE17-FA9F-4800-9432-C4E7B6AA52DA}" type="presParOf" srcId="{5AD207AF-274A-4E89-96AB-B3BDE51CFF9D}" destId="{C4A4F82F-8289-4EC8-876D-BDADB9146C82}" srcOrd="0" destOrd="0" presId="urn:microsoft.com/office/officeart/2018/5/layout/IconCircleLabelList"/>
    <dgm:cxn modelId="{4C9737D4-537B-41ED-B2A8-D54CDE988EEA}" type="presParOf" srcId="{5AD207AF-274A-4E89-96AB-B3BDE51CFF9D}" destId="{3C6B25F9-241B-4DB5-B5FB-6FCF401D7545}" srcOrd="1" destOrd="0" presId="urn:microsoft.com/office/officeart/2018/5/layout/IconCircleLabelList"/>
    <dgm:cxn modelId="{6840985F-3F33-49B2-801C-99767AF8909F}" type="presParOf" srcId="{5AD207AF-274A-4E89-96AB-B3BDE51CFF9D}" destId="{37936CBC-CD9E-45D4-A3C0-0FCD8A8FFBC2}" srcOrd="2" destOrd="0" presId="urn:microsoft.com/office/officeart/2018/5/layout/IconCircleLabelList"/>
    <dgm:cxn modelId="{D5B94AC6-D676-4BBD-9CEB-034B9D426ECD}" type="presParOf" srcId="{5AD207AF-274A-4E89-96AB-B3BDE51CFF9D}" destId="{5ACE12E1-7C71-4104-AA10-843974E5B1E0}" srcOrd="3" destOrd="0" presId="urn:microsoft.com/office/officeart/2018/5/layout/IconCircleLabelList"/>
    <dgm:cxn modelId="{40C48A2C-64A5-4A85-86EF-37A6BF5823F9}" type="presParOf" srcId="{CA0AF97E-E048-4A15-B089-016F18098141}" destId="{BB346FD4-34B3-4DC0-A34D-9183F5C32DF0}" srcOrd="3" destOrd="0" presId="urn:microsoft.com/office/officeart/2018/5/layout/IconCircleLabelList"/>
    <dgm:cxn modelId="{B5C8B52D-1CDC-40B9-8252-AF1AE9EC8680}" type="presParOf" srcId="{CA0AF97E-E048-4A15-B089-016F18098141}" destId="{E66FFE49-089A-4B47-995E-8823B2FE6F97}" srcOrd="4" destOrd="0" presId="urn:microsoft.com/office/officeart/2018/5/layout/IconCircleLabelList"/>
    <dgm:cxn modelId="{0D69ABED-2965-4C5C-B143-EAC28B93A92F}" type="presParOf" srcId="{E66FFE49-089A-4B47-995E-8823B2FE6F97}" destId="{5298FFFD-89AE-44DC-8C9B-91EC9DDF5C4E}" srcOrd="0" destOrd="0" presId="urn:microsoft.com/office/officeart/2018/5/layout/IconCircleLabelList"/>
    <dgm:cxn modelId="{6C34F7FD-FF9C-46B3-BA99-F84E891D4790}" type="presParOf" srcId="{E66FFE49-089A-4B47-995E-8823B2FE6F97}" destId="{769F7270-322C-422B-880F-9FF4AA258873}" srcOrd="1" destOrd="0" presId="urn:microsoft.com/office/officeart/2018/5/layout/IconCircleLabelList"/>
    <dgm:cxn modelId="{C9C8C4F6-1E47-40CD-8753-8684AADBD27C}" type="presParOf" srcId="{E66FFE49-089A-4B47-995E-8823B2FE6F97}" destId="{7FE458F1-C5C7-441A-9638-078474FCE21A}" srcOrd="2" destOrd="0" presId="urn:microsoft.com/office/officeart/2018/5/layout/IconCircleLabelList"/>
    <dgm:cxn modelId="{3CCAFED3-5646-4D47-A731-8C56BE6FEEDA}" type="presParOf" srcId="{E66FFE49-089A-4B47-995E-8823B2FE6F97}" destId="{8FD1F3D1-AA0F-487E-AAFA-A99B6E574BA5}" srcOrd="3" destOrd="0" presId="urn:microsoft.com/office/officeart/2018/5/layout/IconCircleLabelList"/>
    <dgm:cxn modelId="{4E855DC2-0CAB-4E71-8A3D-F3A9F133CEEC}" type="presParOf" srcId="{CA0AF97E-E048-4A15-B089-016F18098141}" destId="{8C307794-8D68-4DF6-A1AC-8E3AC58D9FFD}" srcOrd="5" destOrd="0" presId="urn:microsoft.com/office/officeart/2018/5/layout/IconCircleLabelList"/>
    <dgm:cxn modelId="{8A12A1CB-293E-4283-BC37-FFCB5D28EEE8}" type="presParOf" srcId="{CA0AF97E-E048-4A15-B089-016F18098141}" destId="{F4800C83-768F-41D3-A2EB-C6D04E3EC877}" srcOrd="6" destOrd="0" presId="urn:microsoft.com/office/officeart/2018/5/layout/IconCircleLabelList"/>
    <dgm:cxn modelId="{80582501-6194-4976-96EA-B5C8954D581E}" type="presParOf" srcId="{F4800C83-768F-41D3-A2EB-C6D04E3EC877}" destId="{150A859D-270C-4AA4-B57A-FF59E60F808C}" srcOrd="0" destOrd="0" presId="urn:microsoft.com/office/officeart/2018/5/layout/IconCircleLabelList"/>
    <dgm:cxn modelId="{C0F49CF2-72A0-4999-B2D4-10E6EBA7D8BB}" type="presParOf" srcId="{F4800C83-768F-41D3-A2EB-C6D04E3EC877}" destId="{59B26F94-9F48-44EE-8919-F2D24C93731A}" srcOrd="1" destOrd="0" presId="urn:microsoft.com/office/officeart/2018/5/layout/IconCircleLabelList"/>
    <dgm:cxn modelId="{AF682E7B-0BC9-49F3-972A-3F532CD78310}" type="presParOf" srcId="{F4800C83-768F-41D3-A2EB-C6D04E3EC877}" destId="{DB6D52E5-69ED-4FA9-9E83-0C70F1E40E81}" srcOrd="2" destOrd="0" presId="urn:microsoft.com/office/officeart/2018/5/layout/IconCircleLabelList"/>
    <dgm:cxn modelId="{8E9CD3CE-6400-4189-A088-A7EA8E6F087E}" type="presParOf" srcId="{F4800C83-768F-41D3-A2EB-C6D04E3EC877}" destId="{C48407CC-CF1F-4C49-9C5E-2A6C36937419}" srcOrd="3" destOrd="0" presId="urn:microsoft.com/office/officeart/2018/5/layout/IconCircleLabelList"/>
    <dgm:cxn modelId="{B823B27C-474E-4D76-88BB-5774FCC94368}" type="presParOf" srcId="{CA0AF97E-E048-4A15-B089-016F18098141}" destId="{BA9CD70F-4C73-401F-AF27-730BE9883D87}" srcOrd="7" destOrd="0" presId="urn:microsoft.com/office/officeart/2018/5/layout/IconCircleLabelList"/>
    <dgm:cxn modelId="{C8B4B262-41D6-4EC5-9AAE-AD295FE0A82D}" type="presParOf" srcId="{CA0AF97E-E048-4A15-B089-016F18098141}" destId="{B43AAF97-9BF3-4135-ABE1-8D402F631B52}" srcOrd="8" destOrd="0" presId="urn:microsoft.com/office/officeart/2018/5/layout/IconCircleLabelList"/>
    <dgm:cxn modelId="{5A10E53F-812D-4CA3-AC19-7DA143CC62A3}" type="presParOf" srcId="{B43AAF97-9BF3-4135-ABE1-8D402F631B52}" destId="{CE9EE277-AEEE-41E3-B2F6-B5E157CE5C5E}" srcOrd="0" destOrd="0" presId="urn:microsoft.com/office/officeart/2018/5/layout/IconCircleLabelList"/>
    <dgm:cxn modelId="{12CBC6AD-F62E-4935-A968-6FB86D3BCB6E}" type="presParOf" srcId="{B43AAF97-9BF3-4135-ABE1-8D402F631B52}" destId="{41A66FB4-B2DF-4B67-B426-3C2D19794F2A}" srcOrd="1" destOrd="0" presId="urn:microsoft.com/office/officeart/2018/5/layout/IconCircleLabelList"/>
    <dgm:cxn modelId="{90F2BEB5-489D-4042-AA31-847CD2527A97}" type="presParOf" srcId="{B43AAF97-9BF3-4135-ABE1-8D402F631B52}" destId="{FD4BBEB5-2D70-41BD-80CC-CDB3EFFEF9BD}" srcOrd="2" destOrd="0" presId="urn:microsoft.com/office/officeart/2018/5/layout/IconCircleLabelList"/>
    <dgm:cxn modelId="{13973839-65E2-492D-AEF7-73DF2ED823B2}" type="presParOf" srcId="{B43AAF97-9BF3-4135-ABE1-8D402F631B52}" destId="{159D4C05-C552-441F-AB87-10F7CFB1E666}" srcOrd="3" destOrd="0" presId="urn:microsoft.com/office/officeart/2018/5/layout/IconCircleLabelList"/>
    <dgm:cxn modelId="{0DFEFA7E-20D7-41E6-831C-17CF8F1F8B9C}" type="presParOf" srcId="{CA0AF97E-E048-4A15-B089-016F18098141}" destId="{5E9C531E-3597-4879-9AD4-EB554320B72D}" srcOrd="9" destOrd="0" presId="urn:microsoft.com/office/officeart/2018/5/layout/IconCircleLabelList"/>
    <dgm:cxn modelId="{607F3AF0-9769-439D-A2B5-94F310983731}" type="presParOf" srcId="{CA0AF97E-E048-4A15-B089-016F18098141}" destId="{1A0B2634-E93E-46D3-8058-614DFC73A2E9}" srcOrd="10" destOrd="0" presId="urn:microsoft.com/office/officeart/2018/5/layout/IconCircleLabelList"/>
    <dgm:cxn modelId="{B9C33A7C-1EB6-497E-A402-E834F8395358}" type="presParOf" srcId="{1A0B2634-E93E-46D3-8058-614DFC73A2E9}" destId="{DE09F75E-5989-4BE0-9F00-6BAB59BCFE39}" srcOrd="0" destOrd="0" presId="urn:microsoft.com/office/officeart/2018/5/layout/IconCircleLabelList"/>
    <dgm:cxn modelId="{96DAC7DD-AFDD-4A3F-83CB-75DA44801FA9}" type="presParOf" srcId="{1A0B2634-E93E-46D3-8058-614DFC73A2E9}" destId="{978854CF-DF34-43D6-9B66-9F641B0F9602}" srcOrd="1" destOrd="0" presId="urn:microsoft.com/office/officeart/2018/5/layout/IconCircleLabelList"/>
    <dgm:cxn modelId="{A075F12F-47AF-40A0-85AB-EE03D4B7247E}" type="presParOf" srcId="{1A0B2634-E93E-46D3-8058-614DFC73A2E9}" destId="{252F9421-D3B2-4FD2-A13D-91061D637EF4}" srcOrd="2" destOrd="0" presId="urn:microsoft.com/office/officeart/2018/5/layout/IconCircleLabelList"/>
    <dgm:cxn modelId="{B55A4960-835E-4495-B5DD-CECE5AA92989}" type="presParOf" srcId="{1A0B2634-E93E-46D3-8058-614DFC73A2E9}" destId="{218A2DFA-F552-4B89-81FE-C9CE42876A08}" srcOrd="3" destOrd="0" presId="urn:microsoft.com/office/officeart/2018/5/layout/IconCircleLabelList"/>
    <dgm:cxn modelId="{960B5B28-78FB-47A1-98AF-CEA031CAD333}" type="presParOf" srcId="{CA0AF97E-E048-4A15-B089-016F18098141}" destId="{1A101415-1C6F-4C3A-9A17-C2944EFD2118}" srcOrd="11" destOrd="0" presId="urn:microsoft.com/office/officeart/2018/5/layout/IconCircleLabelList"/>
    <dgm:cxn modelId="{FADE70F5-CC82-4709-BF3C-DA0142E79366}" type="presParOf" srcId="{CA0AF97E-E048-4A15-B089-016F18098141}" destId="{0D62B4AB-CEE4-4E9F-A752-E862D163DD40}" srcOrd="12" destOrd="0" presId="urn:microsoft.com/office/officeart/2018/5/layout/IconCircleLabelList"/>
    <dgm:cxn modelId="{4295CB38-2586-4D10-805B-C286760C32B8}" type="presParOf" srcId="{0D62B4AB-CEE4-4E9F-A752-E862D163DD40}" destId="{4DB1D1D1-01DC-4ABF-AC0F-6F258AE15AB6}" srcOrd="0" destOrd="0" presId="urn:microsoft.com/office/officeart/2018/5/layout/IconCircleLabelList"/>
    <dgm:cxn modelId="{0A71880F-C1DD-4FFF-B3BF-25174CA53100}" type="presParOf" srcId="{0D62B4AB-CEE4-4E9F-A752-E862D163DD40}" destId="{E987153D-6698-4C99-BC37-4BA2CA6616DA}" srcOrd="1" destOrd="0" presId="urn:microsoft.com/office/officeart/2018/5/layout/IconCircleLabelList"/>
    <dgm:cxn modelId="{9F063211-FE57-4D5F-BA5B-3498EBC45E8A}" type="presParOf" srcId="{0D62B4AB-CEE4-4E9F-A752-E862D163DD40}" destId="{241EF7AA-6613-424B-86F2-7FD850795A6C}" srcOrd="2" destOrd="0" presId="urn:microsoft.com/office/officeart/2018/5/layout/IconCircleLabelList"/>
    <dgm:cxn modelId="{74299435-CB90-4DFF-988A-E5EB82807351}" type="presParOf" srcId="{0D62B4AB-CEE4-4E9F-A752-E862D163DD40}" destId="{16F3E344-950D-449B-B8F8-DDC68F34EF00}" srcOrd="3" destOrd="0" presId="urn:microsoft.com/office/officeart/2018/5/layout/IconCircle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DF9E3E-B66E-403F-8BEB-A6F36E07CA1F}">
      <dsp:nvSpPr>
        <dsp:cNvPr id="0" name=""/>
        <dsp:cNvSpPr/>
      </dsp:nvSpPr>
      <dsp:spPr>
        <a:xfrm>
          <a:off x="929372" y="63718"/>
          <a:ext cx="1098000" cy="1098000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1C84E47-8DB0-4B03-9D43-542017001EC6}">
      <dsp:nvSpPr>
        <dsp:cNvPr id="0" name=""/>
        <dsp:cNvSpPr/>
      </dsp:nvSpPr>
      <dsp:spPr>
        <a:xfrm>
          <a:off x="1163372" y="297718"/>
          <a:ext cx="630000" cy="630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19FCE2-1F0A-4F45-A3B9-4E5F116CBD8F}">
      <dsp:nvSpPr>
        <dsp:cNvPr id="0" name=""/>
        <dsp:cNvSpPr/>
      </dsp:nvSpPr>
      <dsp:spPr>
        <a:xfrm>
          <a:off x="578372" y="1503718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GB" sz="1300" kern="1200"/>
            <a:t>Purpose/questions that will be answered:</a:t>
          </a:r>
          <a:endParaRPr lang="en-US" sz="1300" kern="1200"/>
        </a:p>
      </dsp:txBody>
      <dsp:txXfrm>
        <a:off x="578372" y="1503718"/>
        <a:ext cx="1800000" cy="720000"/>
      </dsp:txXfrm>
    </dsp:sp>
    <dsp:sp modelId="{C4A4F82F-8289-4EC8-876D-BDADB9146C82}">
      <dsp:nvSpPr>
        <dsp:cNvPr id="0" name=""/>
        <dsp:cNvSpPr/>
      </dsp:nvSpPr>
      <dsp:spPr>
        <a:xfrm>
          <a:off x="3044372" y="63718"/>
          <a:ext cx="1098000" cy="1098000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C6B25F9-241B-4DB5-B5FB-6FCF401D7545}">
      <dsp:nvSpPr>
        <dsp:cNvPr id="0" name=""/>
        <dsp:cNvSpPr/>
      </dsp:nvSpPr>
      <dsp:spPr>
        <a:xfrm>
          <a:off x="3278372" y="297718"/>
          <a:ext cx="630000" cy="630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ACE12E1-7C71-4104-AA10-843974E5B1E0}">
      <dsp:nvSpPr>
        <dsp:cNvPr id="0" name=""/>
        <dsp:cNvSpPr/>
      </dsp:nvSpPr>
      <dsp:spPr>
        <a:xfrm>
          <a:off x="2693372" y="1503718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GB" sz="1300" kern="1200"/>
            <a:t>What are Satellite systems</a:t>
          </a:r>
          <a:endParaRPr lang="en-US" sz="1300" kern="1200"/>
        </a:p>
      </dsp:txBody>
      <dsp:txXfrm>
        <a:off x="2693372" y="1503718"/>
        <a:ext cx="1800000" cy="720000"/>
      </dsp:txXfrm>
    </dsp:sp>
    <dsp:sp modelId="{5298FFFD-89AE-44DC-8C9B-91EC9DDF5C4E}">
      <dsp:nvSpPr>
        <dsp:cNvPr id="0" name=""/>
        <dsp:cNvSpPr/>
      </dsp:nvSpPr>
      <dsp:spPr>
        <a:xfrm>
          <a:off x="5159372" y="63718"/>
          <a:ext cx="1098000" cy="1098000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69F7270-322C-422B-880F-9FF4AA258873}">
      <dsp:nvSpPr>
        <dsp:cNvPr id="0" name=""/>
        <dsp:cNvSpPr/>
      </dsp:nvSpPr>
      <dsp:spPr>
        <a:xfrm>
          <a:off x="5393372" y="297718"/>
          <a:ext cx="630000" cy="63000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D1F3D1-AA0F-487E-AAFA-A99B6E574BA5}">
      <dsp:nvSpPr>
        <dsp:cNvPr id="0" name=""/>
        <dsp:cNvSpPr/>
      </dsp:nvSpPr>
      <dsp:spPr>
        <a:xfrm>
          <a:off x="4808372" y="1503718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GB" sz="1300" kern="1200"/>
            <a:t>Why are we testing</a:t>
          </a:r>
          <a:endParaRPr lang="en-US" sz="1300" kern="1200"/>
        </a:p>
      </dsp:txBody>
      <dsp:txXfrm>
        <a:off x="4808372" y="1503718"/>
        <a:ext cx="1800000" cy="720000"/>
      </dsp:txXfrm>
    </dsp:sp>
    <dsp:sp modelId="{150A859D-270C-4AA4-B57A-FF59E60F808C}">
      <dsp:nvSpPr>
        <dsp:cNvPr id="0" name=""/>
        <dsp:cNvSpPr/>
      </dsp:nvSpPr>
      <dsp:spPr>
        <a:xfrm>
          <a:off x="7274372" y="63718"/>
          <a:ext cx="1098000" cy="1098000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B26F94-9F48-44EE-8919-F2D24C93731A}">
      <dsp:nvSpPr>
        <dsp:cNvPr id="0" name=""/>
        <dsp:cNvSpPr/>
      </dsp:nvSpPr>
      <dsp:spPr>
        <a:xfrm>
          <a:off x="7508372" y="297718"/>
          <a:ext cx="630000" cy="630000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48407CC-CF1F-4C49-9C5E-2A6C36937419}">
      <dsp:nvSpPr>
        <dsp:cNvPr id="0" name=""/>
        <dsp:cNvSpPr/>
      </dsp:nvSpPr>
      <dsp:spPr>
        <a:xfrm>
          <a:off x="6923372" y="1503718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GB" sz="1300" kern="1200"/>
            <a:t>Identify the test phases and the corresponding preparation phases </a:t>
          </a:r>
          <a:endParaRPr lang="en-US" sz="1300" kern="1200"/>
        </a:p>
      </dsp:txBody>
      <dsp:txXfrm>
        <a:off x="6923372" y="1503718"/>
        <a:ext cx="1800000" cy="720000"/>
      </dsp:txXfrm>
    </dsp:sp>
    <dsp:sp modelId="{CE9EE277-AEEE-41E3-B2F6-B5E157CE5C5E}">
      <dsp:nvSpPr>
        <dsp:cNvPr id="0" name=""/>
        <dsp:cNvSpPr/>
      </dsp:nvSpPr>
      <dsp:spPr>
        <a:xfrm>
          <a:off x="1986872" y="2673718"/>
          <a:ext cx="1098000" cy="1098000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1A66FB4-B2DF-4B67-B426-3C2D19794F2A}">
      <dsp:nvSpPr>
        <dsp:cNvPr id="0" name=""/>
        <dsp:cNvSpPr/>
      </dsp:nvSpPr>
      <dsp:spPr>
        <a:xfrm>
          <a:off x="2220872" y="2907718"/>
          <a:ext cx="630000" cy="630000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59D4C05-C552-441F-AB87-10F7CFB1E666}">
      <dsp:nvSpPr>
        <dsp:cNvPr id="0" name=""/>
        <dsp:cNvSpPr/>
      </dsp:nvSpPr>
      <dsp:spPr>
        <a:xfrm>
          <a:off x="1635872" y="4113718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GB" sz="1300" kern="1200" dirty="0"/>
            <a:t>What is the purpose/reasoning for the various phases</a:t>
          </a:r>
          <a:endParaRPr lang="en-US" sz="1300" kern="1200" dirty="0"/>
        </a:p>
      </dsp:txBody>
      <dsp:txXfrm>
        <a:off x="1635872" y="4113718"/>
        <a:ext cx="1800000" cy="720000"/>
      </dsp:txXfrm>
    </dsp:sp>
    <dsp:sp modelId="{DE09F75E-5989-4BE0-9F00-6BAB59BCFE39}">
      <dsp:nvSpPr>
        <dsp:cNvPr id="0" name=""/>
        <dsp:cNvSpPr/>
      </dsp:nvSpPr>
      <dsp:spPr>
        <a:xfrm>
          <a:off x="4101872" y="2673718"/>
          <a:ext cx="1098000" cy="1098000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8854CF-DF34-43D6-9B66-9F641B0F9602}">
      <dsp:nvSpPr>
        <dsp:cNvPr id="0" name=""/>
        <dsp:cNvSpPr/>
      </dsp:nvSpPr>
      <dsp:spPr>
        <a:xfrm>
          <a:off x="4335872" y="2907718"/>
          <a:ext cx="630000" cy="630000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18A2DFA-F552-4B89-81FE-C9CE42876A08}">
      <dsp:nvSpPr>
        <dsp:cNvPr id="0" name=""/>
        <dsp:cNvSpPr/>
      </dsp:nvSpPr>
      <dsp:spPr>
        <a:xfrm>
          <a:off x="3750872" y="4113718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GB" sz="1300" kern="1200"/>
            <a:t>The timing and duration of the phases</a:t>
          </a:r>
          <a:endParaRPr lang="en-US" sz="1300" kern="1200"/>
        </a:p>
      </dsp:txBody>
      <dsp:txXfrm>
        <a:off x="3750872" y="4113718"/>
        <a:ext cx="1800000" cy="720000"/>
      </dsp:txXfrm>
    </dsp:sp>
    <dsp:sp modelId="{4DB1D1D1-01DC-4ABF-AC0F-6F258AE15AB6}">
      <dsp:nvSpPr>
        <dsp:cNvPr id="0" name=""/>
        <dsp:cNvSpPr/>
      </dsp:nvSpPr>
      <dsp:spPr>
        <a:xfrm>
          <a:off x="6216872" y="2673718"/>
          <a:ext cx="1098000" cy="1098000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87153D-6698-4C99-BC37-4BA2CA6616DA}">
      <dsp:nvSpPr>
        <dsp:cNvPr id="0" name=""/>
        <dsp:cNvSpPr/>
      </dsp:nvSpPr>
      <dsp:spPr>
        <a:xfrm>
          <a:off x="6450872" y="2907718"/>
          <a:ext cx="630000" cy="630000"/>
        </a:xfrm>
        <a:prstGeom prst="rect">
          <a:avLst/>
        </a:prstGeom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F3E344-950D-449B-B8F8-DDC68F34EF00}">
      <dsp:nvSpPr>
        <dsp:cNvPr id="0" name=""/>
        <dsp:cNvSpPr/>
      </dsp:nvSpPr>
      <dsp:spPr>
        <a:xfrm>
          <a:off x="5865872" y="4113718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GB" sz="1300" b="0" kern="1200" dirty="0"/>
            <a:t>What do we need from you</a:t>
          </a:r>
          <a:endParaRPr lang="en-US" sz="1300" b="0" kern="1200" dirty="0"/>
        </a:p>
      </dsp:txBody>
      <dsp:txXfrm>
        <a:off x="5865872" y="4113718"/>
        <a:ext cx="1800000" cy="72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5/layout/IconCircleLabelList">
  <dgm:title val="Icon Circle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3018243" cy="460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90" tIns="45745" rIns="91490" bIns="45745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100"/>
            </a:lvl1pPr>
          </a:lstStyle>
          <a:p>
            <a:endParaRPr lang="de-DE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46184" y="0"/>
            <a:ext cx="3018243" cy="460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90" tIns="45745" rIns="91490" bIns="45745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100"/>
            </a:lvl1pPr>
          </a:lstStyle>
          <a:p>
            <a:endParaRPr lang="de-DE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8764554"/>
            <a:ext cx="3018243" cy="4620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90" tIns="45745" rIns="91490" bIns="45745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100"/>
            </a:lvl1pPr>
          </a:lstStyle>
          <a:p>
            <a:endParaRPr lang="de-DE"/>
          </a:p>
        </p:txBody>
      </p:sp>
      <p:sp>
        <p:nvSpPr>
          <p:cNvPr id="337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46184" y="8764554"/>
            <a:ext cx="3018243" cy="4620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90" tIns="45745" rIns="91490" bIns="45745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100"/>
            </a:lvl1pPr>
          </a:lstStyle>
          <a:p>
            <a:fld id="{857A7E1D-5408-4D3E-A25E-60444F061665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06948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3018243" cy="460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90" tIns="45745" rIns="91490" bIns="45745" numCol="1" anchor="t" anchorCtr="0" compatLnSpc="1">
            <a:prstTxWarp prst="textNoShape">
              <a:avLst/>
            </a:prstTxWarp>
          </a:bodyPr>
          <a:lstStyle>
            <a:lvl1pPr rtl="0">
              <a:lnSpc>
                <a:spcPct val="100000"/>
              </a:lnSpc>
              <a:defRPr sz="1100"/>
            </a:lvl1pPr>
          </a:lstStyle>
          <a:p>
            <a:endParaRPr lang="en-US" dirty="0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46184" y="0"/>
            <a:ext cx="3018243" cy="460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90" tIns="45745" rIns="91490" bIns="45745" numCol="1" anchor="t" anchorCtr="0" compatLnSpc="1">
            <a:prstTxWarp prst="textNoShape">
              <a:avLst/>
            </a:prstTxWarp>
          </a:bodyPr>
          <a:lstStyle>
            <a:lvl1pPr algn="r" rtl="0">
              <a:lnSpc>
                <a:spcPct val="100000"/>
              </a:lnSpc>
              <a:defRPr sz="1100"/>
            </a:lvl1pPr>
          </a:lstStyle>
          <a:p>
            <a:endParaRPr lang="en-US" dirty="0"/>
          </a:p>
        </p:txBody>
      </p:sp>
      <p:sp>
        <p:nvSpPr>
          <p:cNvPr id="21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07988" y="692150"/>
            <a:ext cx="6149975" cy="34591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1509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927942" y="4383016"/>
            <a:ext cx="5108548" cy="4151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8764554"/>
            <a:ext cx="3018243" cy="4620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90" tIns="45745" rIns="91490" bIns="45745" numCol="1" anchor="b" anchorCtr="0" compatLnSpc="1">
            <a:prstTxWarp prst="textNoShape">
              <a:avLst/>
            </a:prstTxWarp>
          </a:bodyPr>
          <a:lstStyle>
            <a:lvl1pPr rtl="0">
              <a:lnSpc>
                <a:spcPct val="100000"/>
              </a:lnSpc>
              <a:defRPr sz="1100"/>
            </a:lvl1pPr>
          </a:lstStyle>
          <a:p>
            <a:endParaRPr lang="en-US" dirty="0"/>
          </a:p>
        </p:txBody>
      </p:sp>
      <p:sp>
        <p:nvSpPr>
          <p:cNvPr id="215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46184" y="8764554"/>
            <a:ext cx="3018243" cy="4620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90" tIns="45745" rIns="91490" bIns="45745" numCol="1" anchor="b" anchorCtr="0" compatLnSpc="1">
            <a:prstTxWarp prst="textNoShape">
              <a:avLst/>
            </a:prstTxWarp>
          </a:bodyPr>
          <a:lstStyle>
            <a:lvl1pPr algn="r" rtl="0">
              <a:lnSpc>
                <a:spcPct val="100000"/>
              </a:lnSpc>
              <a:defRPr sz="1100"/>
            </a:lvl1pPr>
          </a:lstStyle>
          <a:p>
            <a:fld id="{534ECE63-F59B-45E1-8290-295EDE13855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544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73050" indent="-273050" algn="l" rtl="0" fontAlgn="base">
      <a:lnSpc>
        <a:spcPct val="110000"/>
      </a:lnSpc>
      <a:spcBef>
        <a:spcPct val="0"/>
      </a:spcBef>
      <a:spcAft>
        <a:spcPct val="30000"/>
      </a:spcAft>
      <a:buFont typeface="LindeDaxPowerPoint" pitchFamily="34" charset="0"/>
      <a:buChar char="—"/>
      <a:tabLst/>
      <a:defRPr sz="1600" b="0" kern="1200" baseline="0">
        <a:solidFill>
          <a:schemeClr val="tx1"/>
        </a:solidFill>
        <a:latin typeface="LindeDaxPowerPoint" pitchFamily="34" charset="0"/>
        <a:ea typeface="+mn-ea"/>
        <a:cs typeface="+mn-cs"/>
      </a:defRPr>
    </a:lvl1pPr>
    <a:lvl2pPr marL="536575" indent="-263525" algn="l" rtl="0" fontAlgn="base">
      <a:lnSpc>
        <a:spcPct val="110000"/>
      </a:lnSpc>
      <a:spcBef>
        <a:spcPct val="0"/>
      </a:spcBef>
      <a:spcAft>
        <a:spcPct val="30000"/>
      </a:spcAft>
      <a:buFont typeface="LindeDaxPowerPoint" pitchFamily="34" charset="0"/>
      <a:buChar char="—"/>
      <a:tabLst/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2pPr>
    <a:lvl3pPr marL="809625" indent="-273050" algn="l" rtl="0" fontAlgn="base">
      <a:lnSpc>
        <a:spcPct val="110000"/>
      </a:lnSpc>
      <a:spcBef>
        <a:spcPct val="0"/>
      </a:spcBef>
      <a:spcAft>
        <a:spcPct val="30000"/>
      </a:spcAft>
      <a:buFont typeface="LindeDaxPowerPoint" pitchFamily="34" charset="0"/>
      <a:buChar char="—"/>
      <a:tabLst/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3pPr>
    <a:lvl4pPr marL="1071563" indent="-261938" algn="l" rtl="0" fontAlgn="base">
      <a:lnSpc>
        <a:spcPct val="110000"/>
      </a:lnSpc>
      <a:spcBef>
        <a:spcPct val="0"/>
      </a:spcBef>
      <a:spcAft>
        <a:spcPct val="30000"/>
      </a:spcAft>
      <a:buFont typeface="LindeDaxPowerPoint" pitchFamily="34" charset="0"/>
      <a:buChar char="—"/>
      <a:tabLst/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4pPr>
    <a:lvl5pPr marL="1344613" indent="-273050" algn="l" rtl="0" fontAlgn="base">
      <a:lnSpc>
        <a:spcPct val="110000"/>
      </a:lnSpc>
      <a:spcBef>
        <a:spcPct val="0"/>
      </a:spcBef>
      <a:spcAft>
        <a:spcPct val="30000"/>
      </a:spcAft>
      <a:buFont typeface="LindeDaxPowerPoint" pitchFamily="34" charset="0"/>
      <a:buChar char="—"/>
      <a:tabLst/>
      <a:defRPr sz="1600" kern="1200">
        <a:solidFill>
          <a:schemeClr val="tx1"/>
        </a:solidFill>
        <a:latin typeface="LindeDaxPowerPoint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76263" y="608013"/>
            <a:ext cx="5387975" cy="30305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4ECE63-F59B-45E1-8290-295EDE138554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78674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4ECE63-F59B-45E1-8290-295EDE13855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8089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4ECE63-F59B-45E1-8290-295EDE138554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632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4ECE63-F59B-45E1-8290-295EDE138554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15034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4ECE63-F59B-45E1-8290-295EDE138554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92855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jp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jpg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jpg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jp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4.jpg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1BF06A6-AB4C-5EEA-D9A1-97E34104EB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390306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4" imgH="234" progId="TCLayout.ActiveDocument.1">
                  <p:embed/>
                </p:oleObj>
              </mc:Choice>
              <mc:Fallback>
                <p:oleObj name="think-cell Slide" r:id="rId3" imgW="234" imgH="23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1BF06A6-AB4C-5EEA-D9A1-97E34104E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9"/>
            <a:ext cx="11328401" cy="133167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0" tIns="0" rIns="0" anchor="b" anchorCtr="0"/>
          <a:lstStyle>
            <a:lvl1pPr rtl="0"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3573016"/>
            <a:ext cx="11328401" cy="2808734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 rtl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35E431D-92A2-47E3-AB81-F992A03F4066}"/>
              </a:ext>
            </a:extLst>
          </p:cNvPr>
          <p:cNvSpPr/>
          <p:nvPr userDrawn="1"/>
        </p:nvSpPr>
        <p:spPr>
          <a:xfrm>
            <a:off x="446618" y="237589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rtl="0"/>
            <a:r>
              <a:rPr lang="en-US" sz="1800" dirty="0">
                <a:solidFill>
                  <a:schemeClr val="tx2"/>
                </a:solidFill>
              </a:rPr>
              <a:t>Making our world more productiv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491C5CC-A0C6-4BA9-8E02-4DEE9BCA1C8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152636"/>
            <a:ext cx="3553968" cy="133045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E7BC7B5-042F-CD9B-9801-D99A27D6BC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313062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4" imgH="234" progId="TCLayout.ActiveDocument.1">
                  <p:embed/>
                </p:oleObj>
              </mc:Choice>
              <mc:Fallback>
                <p:oleObj name="think-cell Slide" r:id="rId3" imgW="234" imgH="23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E7BC7B5-042F-CD9B-9801-D99A27D6BC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3504000" cy="489743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100000"/>
              </a:lnSpc>
            </a:pPr>
            <a:fld id="{67B112D8-1E2F-4189-993F-2A0755A65196}" type="datetime1">
              <a:rPr lang="en-US" smtClean="0"/>
              <a:pPr>
                <a:lnSpc>
                  <a:spcPct val="100000"/>
                </a:lnSpc>
              </a:pPr>
              <a:t>3/9/2025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100000"/>
              </a:lnSpc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4344215" y="1484315"/>
            <a:ext cx="3504000" cy="489743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8256629" y="1484315"/>
            <a:ext cx="3504000" cy="489743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87709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60D838-02C4-7B39-A670-37B9772487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600668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4" imgH="234" progId="TCLayout.ActiveDocument.1">
                  <p:embed/>
                </p:oleObj>
              </mc:Choice>
              <mc:Fallback>
                <p:oleObj name="think-cell Slide" r:id="rId3" imgW="234" imgH="23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060D838-02C4-7B39-A670-37B9772487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5" cy="235655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100000"/>
              </a:lnSpc>
            </a:pPr>
            <a:fld id="{16CAB49A-72BA-4239-A74F-D2CE80ACE001}" type="datetime1">
              <a:rPr lang="en-US" smtClean="0"/>
              <a:pPr>
                <a:lnSpc>
                  <a:spcPct val="100000"/>
                </a:lnSpc>
              </a:pPr>
              <a:t>3/9/2025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100000"/>
              </a:lnSpc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88618" y="1484315"/>
            <a:ext cx="5471583" cy="235655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431800" y="4041068"/>
            <a:ext cx="5471584" cy="234068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6288618" y="4041068"/>
            <a:ext cx="5471583" cy="234068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38746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CA2FF0C-1EE3-4225-1AC3-4D07C4F9F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213051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4" imgH="234" progId="TCLayout.ActiveDocument.1">
                  <p:embed/>
                </p:oleObj>
              </mc:Choice>
              <mc:Fallback>
                <p:oleObj name="think-cell Slide" r:id="rId3" imgW="234" imgH="23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CA2FF0C-1EE3-4225-1AC3-4D07C4F9F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100000"/>
              </a:lnSpc>
            </a:pPr>
            <a:fld id="{156EEAEA-A3B3-4068-AC4D-BAAE5D92BF24}" type="datetime1">
              <a:rPr lang="en-US" smtClean="0"/>
              <a:pPr>
                <a:lnSpc>
                  <a:spcPct val="100000"/>
                </a:lnSpc>
              </a:pPr>
              <a:t>3/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100000"/>
              </a:lnSpc>
            </a:pPr>
            <a:r>
              <a:rPr lang="en-US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2282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79019A7-90EF-6347-E2B1-A2EA4D206D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078881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4" imgH="234" progId="TCLayout.ActiveDocument.1">
                  <p:embed/>
                </p:oleObj>
              </mc:Choice>
              <mc:Fallback>
                <p:oleObj name="think-cell Slide" r:id="rId3" imgW="234" imgH="23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79019A7-90EF-6347-E2B1-A2EA4D206D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100000"/>
              </a:lnSpc>
            </a:pPr>
            <a:fld id="{69D6C443-A022-43B1-8F6A-02EFB2467411}" type="datetime1">
              <a:rPr lang="en-US" smtClean="0"/>
              <a:pPr>
                <a:lnSpc>
                  <a:spcPct val="100000"/>
                </a:lnSpc>
              </a:pPr>
              <a:t>3/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100000"/>
              </a:lnSpc>
            </a:pPr>
            <a:r>
              <a:rPr lang="en-US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51162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FFC2A5D-05D1-68CD-931A-5237EDCE9E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950738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4" imgH="234" progId="TCLayout.ActiveDocument.1">
                  <p:embed/>
                </p:oleObj>
              </mc:Choice>
              <mc:Fallback>
                <p:oleObj name="think-cell Slide" r:id="rId3" imgW="234" imgH="23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FFC2A5D-05D1-68CD-931A-5237EDCE9E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76085" y="1484313"/>
            <a:ext cx="7584115" cy="489743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rtl="0">
              <a:defRPr lang="de-DE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0500" y="152401"/>
            <a:ext cx="8881533" cy="10224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3551669" cy="4897437"/>
          </a:xfrm>
        </p:spPr>
        <p:txBody>
          <a:bodyPr/>
          <a:lstStyle>
            <a:lvl1pPr marL="0" indent="0" rtl="0">
              <a:buNone/>
              <a:tabLst/>
              <a:defRPr sz="1400"/>
            </a:lvl1pPr>
            <a:lvl2pPr marL="184150" indent="-184150" rtl="0">
              <a:tabLst/>
              <a:defRPr sz="1400"/>
            </a:lvl2pPr>
            <a:lvl3pPr marL="361950" indent="-171450" rtl="0">
              <a:tabLst/>
              <a:defRPr sz="1400"/>
            </a:lvl3pPr>
            <a:lvl4pPr marL="534988" indent="-177800" rtl="0">
              <a:tabLst/>
              <a:defRPr sz="1400"/>
            </a:lvl4pPr>
            <a:lvl5pPr marL="714375" indent="-177800" rtl="0">
              <a:tabLst/>
              <a:defRPr sz="1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100000"/>
              </a:lnSpc>
            </a:pPr>
            <a:fld id="{66CBF2F3-85CF-4106-ABED-CEC21FC368D1}" type="datetime1">
              <a:rPr lang="en-US" smtClean="0"/>
              <a:pPr>
                <a:lnSpc>
                  <a:spcPct val="100000"/>
                </a:lnSpc>
              </a:pPr>
              <a:t>3/9/2025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100000"/>
              </a:lnSpc>
            </a:pPr>
            <a:r>
              <a:rPr lang="en-US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2302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59A4CE-BB55-4BB9-87A3-FA6A8B4D1C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730883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4" imgH="234" progId="TCLayout.ActiveDocument.1">
                  <p:embed/>
                </p:oleObj>
              </mc:Choice>
              <mc:Fallback>
                <p:oleObj name="think-cell Slide" r:id="rId3" imgW="234" imgH="23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759A4CE-BB55-4BB9-87A3-FA6A8B4D1C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88618" y="1484784"/>
            <a:ext cx="5471583" cy="2376124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rtl="0">
              <a:defRPr lang="de-DE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0500" y="152403"/>
            <a:ext cx="8881533" cy="102393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4897437"/>
          </a:xfrm>
        </p:spPr>
        <p:txBody>
          <a:bodyPr/>
          <a:lstStyle>
            <a:lvl1pPr marL="0" indent="0" rtl="0">
              <a:buNone/>
              <a:tabLst/>
              <a:defRPr sz="1400"/>
            </a:lvl1pPr>
            <a:lvl2pPr marL="184150" indent="-184150" rtl="0">
              <a:tabLst/>
              <a:defRPr sz="1400"/>
            </a:lvl2pPr>
            <a:lvl3pPr marL="358775" indent="-177800" rtl="0">
              <a:tabLst/>
              <a:defRPr sz="1400"/>
            </a:lvl3pPr>
            <a:lvl4pPr marL="534988" indent="-177800" rtl="0">
              <a:tabLst/>
              <a:defRPr sz="1400"/>
            </a:lvl4pPr>
            <a:lvl5pPr marL="714375" indent="-177800" rtl="0">
              <a:tabLst/>
              <a:defRPr sz="1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100000"/>
              </a:lnSpc>
            </a:pPr>
            <a:fld id="{E6F0A08E-BD71-477E-8D38-1C8AF8825CB1}" type="datetime1">
              <a:rPr lang="en-US" smtClean="0"/>
              <a:pPr>
                <a:lnSpc>
                  <a:spcPct val="100000"/>
                </a:lnSpc>
              </a:pPr>
              <a:t>3/9/2025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100000"/>
              </a:lnSpc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88618" y="4004642"/>
            <a:ext cx="5471583" cy="237710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rtl="0">
              <a:defRPr lang="de-DE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505734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EBDFE0-96F5-761A-916F-83EC1D6CC4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125283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4" imgH="234" progId="TCLayout.ActiveDocument.1">
                  <p:embed/>
                </p:oleObj>
              </mc:Choice>
              <mc:Fallback>
                <p:oleObj name="think-cell Slide" r:id="rId3" imgW="234" imgH="23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EBDFE0-96F5-761A-916F-83EC1D6CC4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31800" y="3429003"/>
            <a:ext cx="11328401" cy="295274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rtl="0">
              <a:defRPr lang="de-DE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1728663"/>
          </a:xfrm>
        </p:spPr>
        <p:txBody>
          <a:bodyPr/>
          <a:lstStyle>
            <a:lvl1pPr marL="0" indent="0" rtl="0">
              <a:buNone/>
              <a:tabLst/>
              <a:defRPr sz="1400"/>
            </a:lvl1pPr>
            <a:lvl2pPr marL="184150" indent="-184150" rtl="0">
              <a:tabLst/>
              <a:defRPr sz="1400"/>
            </a:lvl2pPr>
            <a:lvl3pPr marL="358775" indent="-177800" rtl="0">
              <a:tabLst/>
              <a:defRPr sz="1400"/>
            </a:lvl3pPr>
            <a:lvl4pPr marL="534988" indent="-177800" rtl="0">
              <a:tabLst/>
              <a:defRPr sz="1400"/>
            </a:lvl4pPr>
            <a:lvl5pPr marL="714375" indent="-177800" defTabSz="715963" rtl="0">
              <a:tabLst/>
              <a:defRPr sz="1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100000"/>
              </a:lnSpc>
            </a:pPr>
            <a:fld id="{153DEA4B-2AFF-4EE4-8885-F4B781317C46}" type="datetime1">
              <a:rPr lang="en-US" smtClean="0"/>
              <a:pPr>
                <a:lnSpc>
                  <a:spcPct val="100000"/>
                </a:lnSpc>
              </a:pPr>
              <a:t>3/9/2025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100000"/>
              </a:lnSpc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88618" y="1484315"/>
            <a:ext cx="5471583" cy="1728663"/>
          </a:xfrm>
        </p:spPr>
        <p:txBody>
          <a:bodyPr/>
          <a:lstStyle>
            <a:lvl1pPr marL="0" indent="0" rtl="0">
              <a:buNone/>
              <a:tabLst/>
              <a:defRPr sz="1400"/>
            </a:lvl1pPr>
            <a:lvl2pPr marL="184150" indent="-184150" rtl="0">
              <a:tabLst/>
              <a:defRPr sz="1400"/>
            </a:lvl2pPr>
            <a:lvl3pPr marL="358775" indent="-177800" rtl="0">
              <a:tabLst/>
              <a:defRPr sz="1400"/>
            </a:lvl3pPr>
            <a:lvl4pPr marL="534988" indent="-177800" rtl="0">
              <a:tabLst/>
              <a:defRPr sz="1400"/>
            </a:lvl4pPr>
            <a:lvl5pPr marL="714375" indent="-177800" defTabSz="806450" rtl="0">
              <a:tabLst/>
              <a:defRPr sz="1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90783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9"/>
            <a:ext cx="11328401" cy="133167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3573016"/>
            <a:ext cx="11328401" cy="2808734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35E431D-92A2-47E3-AB81-F992A03F4066}"/>
              </a:ext>
            </a:extLst>
          </p:cNvPr>
          <p:cNvSpPr/>
          <p:nvPr userDrawn="1"/>
        </p:nvSpPr>
        <p:spPr>
          <a:xfrm>
            <a:off x="446618" y="237589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491C5CC-A0C6-4BA9-8E02-4DEE9BCA1C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152636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73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, Logo at top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319205 w 9144000"/>
              <a:gd name="connsiteY0" fmla="*/ 152636 h 6858000"/>
              <a:gd name="connsiteX1" fmla="*/ 6319205 w 9144000"/>
              <a:gd name="connsiteY1" fmla="*/ 1484313 h 6858000"/>
              <a:gd name="connsiteX2" fmla="*/ 9001125 w 9144000"/>
              <a:gd name="connsiteY2" fmla="*/ 1484313 h 6858000"/>
              <a:gd name="connsiteX3" fmla="*/ 9001125 w 9144000"/>
              <a:gd name="connsiteY3" fmla="*/ 152636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319205" y="152636"/>
                </a:moveTo>
                <a:lnTo>
                  <a:pt x="6319205" y="1484313"/>
                </a:lnTo>
                <a:lnTo>
                  <a:pt x="9001125" y="1484313"/>
                </a:lnTo>
                <a:lnTo>
                  <a:pt x="9001125" y="152636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8"/>
            <a:ext cx="11328401" cy="1332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3573016"/>
            <a:ext cx="11328401" cy="2808729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A93E2D9-D28C-46C1-8A7B-CE37C604AD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617" y="237589"/>
            <a:ext cx="48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aim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D322560-4D8C-4FCD-91A4-4F3A391BE7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152636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091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half Pic, Logo at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429000"/>
          </a:xfrm>
          <a:custGeom>
            <a:avLst/>
            <a:gdLst>
              <a:gd name="connsiteX0" fmla="*/ 6319205 w 9144000"/>
              <a:gd name="connsiteY0" fmla="*/ 152636 h 3429000"/>
              <a:gd name="connsiteX1" fmla="*/ 6319205 w 9144000"/>
              <a:gd name="connsiteY1" fmla="*/ 1484313 h 3429000"/>
              <a:gd name="connsiteX2" fmla="*/ 9001125 w 9144000"/>
              <a:gd name="connsiteY2" fmla="*/ 1484313 h 3429000"/>
              <a:gd name="connsiteX3" fmla="*/ 9001125 w 9144000"/>
              <a:gd name="connsiteY3" fmla="*/ 152636 h 3429000"/>
              <a:gd name="connsiteX4" fmla="*/ 0 w 9144000"/>
              <a:gd name="connsiteY4" fmla="*/ 0 h 3429000"/>
              <a:gd name="connsiteX5" fmla="*/ 9144000 w 9144000"/>
              <a:gd name="connsiteY5" fmla="*/ 0 h 3429000"/>
              <a:gd name="connsiteX6" fmla="*/ 9144000 w 9144000"/>
              <a:gd name="connsiteY6" fmla="*/ 3429000 h 3429000"/>
              <a:gd name="connsiteX7" fmla="*/ 0 w 9144000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3429000">
                <a:moveTo>
                  <a:pt x="6319205" y="152636"/>
                </a:moveTo>
                <a:lnTo>
                  <a:pt x="6319205" y="1484313"/>
                </a:lnTo>
                <a:lnTo>
                  <a:pt x="9001125" y="1484313"/>
                </a:lnTo>
                <a:lnTo>
                  <a:pt x="9001125" y="152636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4"/>
            <a:ext cx="11328401" cy="1116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4845856"/>
            <a:ext cx="11328401" cy="1283444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37045AB-0038-4D16-836E-600A3271FA7C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115FC430-CCF7-4725-A714-CDE1DB3A77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152636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771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, Logo at top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B42B2A-9F36-A704-C74D-C6DE4C9B33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129533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4" imgH="234" progId="TCLayout.ActiveDocument.1">
                  <p:embed/>
                </p:oleObj>
              </mc:Choice>
              <mc:Fallback>
                <p:oleObj name="think-cell Slide" r:id="rId3" imgW="234" imgH="23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B42B2A-9F36-A704-C74D-C6DE4C9B33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319205 w 9144000"/>
              <a:gd name="connsiteY0" fmla="*/ 152636 h 6858000"/>
              <a:gd name="connsiteX1" fmla="*/ 6319205 w 9144000"/>
              <a:gd name="connsiteY1" fmla="*/ 1484313 h 6858000"/>
              <a:gd name="connsiteX2" fmla="*/ 9001125 w 9144000"/>
              <a:gd name="connsiteY2" fmla="*/ 1484313 h 6858000"/>
              <a:gd name="connsiteX3" fmla="*/ 9001125 w 9144000"/>
              <a:gd name="connsiteY3" fmla="*/ 152636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319205" y="152636"/>
                </a:moveTo>
                <a:lnTo>
                  <a:pt x="6319205" y="1484313"/>
                </a:lnTo>
                <a:lnTo>
                  <a:pt x="9001125" y="1484313"/>
                </a:lnTo>
                <a:lnTo>
                  <a:pt x="9001125" y="152636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8"/>
            <a:ext cx="11328401" cy="1332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0" tIns="0" rIns="0" anchor="b" anchorCtr="0"/>
          <a:lstStyle>
            <a:lvl1pPr rtl="0"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3573016"/>
            <a:ext cx="11328401" cy="2808729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 rtl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A93E2D9-D28C-46C1-8A7B-CE37C604AD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617" y="237589"/>
            <a:ext cx="4800000" cy="360000"/>
          </a:xfrm>
        </p:spPr>
        <p:txBody>
          <a:bodyPr/>
          <a:lstStyle>
            <a:lvl1pPr marL="0" indent="0" rtl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aim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D322560-4D8C-4FCD-91A4-4F3A391BE77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152636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6477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, Logo at bottom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319205 w 9144000"/>
              <a:gd name="connsiteY0" fmla="*/ 5373923 h 6858000"/>
              <a:gd name="connsiteX1" fmla="*/ 6319205 w 9144000"/>
              <a:gd name="connsiteY1" fmla="*/ 6705600 h 6858000"/>
              <a:gd name="connsiteX2" fmla="*/ 9001125 w 9144000"/>
              <a:gd name="connsiteY2" fmla="*/ 6705600 h 6858000"/>
              <a:gd name="connsiteX3" fmla="*/ 9001125 w 9144000"/>
              <a:gd name="connsiteY3" fmla="*/ 5373923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319205" y="5373923"/>
                </a:moveTo>
                <a:lnTo>
                  <a:pt x="6319205" y="6705600"/>
                </a:lnTo>
                <a:lnTo>
                  <a:pt x="9001125" y="6705600"/>
                </a:lnTo>
                <a:lnTo>
                  <a:pt x="9001125" y="537392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8"/>
            <a:ext cx="11328401" cy="1332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3573017"/>
            <a:ext cx="11328401" cy="1584173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3FBB73C-3321-4EF1-97A8-BF44D636BC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6617" y="237589"/>
            <a:ext cx="48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aim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5CA118E-D26E-46BC-8EAC-D4848714CA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5375148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4902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3429000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ctr">
              <a:buNone/>
              <a:defRPr lang="de-DE"/>
            </a:lvl1pPr>
          </a:lstStyle>
          <a:p>
            <a:pPr marL="177800" lvl="0" indent="-177800" algn="ctr"/>
            <a:r>
              <a:rPr lang="en-GB" noProof="0"/>
              <a:t>Click icon to add pictur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800637F-3C04-4A0B-94C3-D16E85A504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5375148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2056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948488 w 9144000"/>
              <a:gd name="connsiteY0" fmla="*/ 152400 h 6858000"/>
              <a:gd name="connsiteX1" fmla="*/ 6948488 w 9144000"/>
              <a:gd name="connsiteY1" fmla="*/ 1176337 h 6858000"/>
              <a:gd name="connsiteX2" fmla="*/ 9000492 w 9144000"/>
              <a:gd name="connsiteY2" fmla="*/ 1176337 h 6858000"/>
              <a:gd name="connsiteX3" fmla="*/ 9000492 w 9144000"/>
              <a:gd name="connsiteY3" fmla="*/ 152400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948488" y="152400"/>
                </a:moveTo>
                <a:lnTo>
                  <a:pt x="6948488" y="1176337"/>
                </a:lnTo>
                <a:lnTo>
                  <a:pt x="9000492" y="1176337"/>
                </a:lnTo>
                <a:lnTo>
                  <a:pt x="9000492" y="152400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1"/>
            <a:ext cx="8881533" cy="1008000"/>
          </a:xfrm>
          <a:solidFill>
            <a:schemeClr val="bg1"/>
          </a:solidFill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4135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mall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1" y="152401"/>
            <a:ext cx="8881532" cy="100806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BDE383DA-F68E-4FD3-9E87-F566FEC9F88B}" type="datetime1">
              <a:rPr lang="en-US" noProof="0" smtClean="0"/>
              <a:t>3/9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190500" y="1341439"/>
            <a:ext cx="11811000" cy="5040312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014271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1" y="152403"/>
            <a:ext cx="8881532" cy="102393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2" y="1484315"/>
            <a:ext cx="11328399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DAB61AD4-455F-4DE0-8A9C-F6BB3C31672D}" type="datetime1">
              <a:rPr lang="en-US" noProof="0" smtClean="0"/>
              <a:t>3/9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0820080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1" y="152403"/>
            <a:ext cx="8881532" cy="1023937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E632994A-4A51-40FE-B3DA-4F0E6CE8B1F8}" type="datetime1">
              <a:rPr lang="en-US" noProof="0" smtClean="0"/>
              <a:t>3/9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88618" y="1484315"/>
            <a:ext cx="5471583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34083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3504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7B112D8-1E2F-4189-993F-2A0755A65196}" type="datetime1">
              <a:rPr lang="en-US" noProof="0" smtClean="0"/>
              <a:t>3/9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4344215" y="1484315"/>
            <a:ext cx="3504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8256629" y="1484315"/>
            <a:ext cx="3504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63153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5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6CAB49A-72BA-4239-A74F-D2CE80ACE001}" type="datetime1">
              <a:rPr lang="en-US" noProof="0" smtClean="0"/>
              <a:t>3/9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88618" y="1484315"/>
            <a:ext cx="5471583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431800" y="4041068"/>
            <a:ext cx="5471584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6288618" y="4041068"/>
            <a:ext cx="5471583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49873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56EEAEA-A3B3-4068-AC4D-BAAE5D92BF24}" type="datetime1">
              <a:rPr lang="en-US" noProof="0" smtClean="0"/>
              <a:t>3/9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2618567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9D6C443-A022-43B1-8F6A-02EFB2467411}" type="datetime1">
              <a:rPr lang="en-US" noProof="0" smtClean="0"/>
              <a:t>3/9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025491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half Pic, Logo at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397BEC5-5A8F-8F5C-D286-08782CFB4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007058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4" imgH="234" progId="TCLayout.ActiveDocument.1">
                  <p:embed/>
                </p:oleObj>
              </mc:Choice>
              <mc:Fallback>
                <p:oleObj name="think-cell Slide" r:id="rId3" imgW="234" imgH="23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397BEC5-5A8F-8F5C-D286-08782CFB4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1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429000"/>
          </a:xfrm>
          <a:custGeom>
            <a:avLst/>
            <a:gdLst>
              <a:gd name="connsiteX0" fmla="*/ 6319205 w 9144000"/>
              <a:gd name="connsiteY0" fmla="*/ 152636 h 3429000"/>
              <a:gd name="connsiteX1" fmla="*/ 6319205 w 9144000"/>
              <a:gd name="connsiteY1" fmla="*/ 1484313 h 3429000"/>
              <a:gd name="connsiteX2" fmla="*/ 9001125 w 9144000"/>
              <a:gd name="connsiteY2" fmla="*/ 1484313 h 3429000"/>
              <a:gd name="connsiteX3" fmla="*/ 9001125 w 9144000"/>
              <a:gd name="connsiteY3" fmla="*/ 152636 h 3429000"/>
              <a:gd name="connsiteX4" fmla="*/ 0 w 9144000"/>
              <a:gd name="connsiteY4" fmla="*/ 0 h 3429000"/>
              <a:gd name="connsiteX5" fmla="*/ 9144000 w 9144000"/>
              <a:gd name="connsiteY5" fmla="*/ 0 h 3429000"/>
              <a:gd name="connsiteX6" fmla="*/ 9144000 w 9144000"/>
              <a:gd name="connsiteY6" fmla="*/ 3429000 h 3429000"/>
              <a:gd name="connsiteX7" fmla="*/ 0 w 9144000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3429000">
                <a:moveTo>
                  <a:pt x="6319205" y="152636"/>
                </a:moveTo>
                <a:lnTo>
                  <a:pt x="6319205" y="1484313"/>
                </a:lnTo>
                <a:lnTo>
                  <a:pt x="9001125" y="1484313"/>
                </a:lnTo>
                <a:lnTo>
                  <a:pt x="9001125" y="152636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4"/>
            <a:ext cx="11328401" cy="1116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0" tIns="0" rIns="0" anchor="t" anchorCtr="0"/>
          <a:lstStyle>
            <a:lvl1pPr rtl="0"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4845856"/>
            <a:ext cx="11328401" cy="1283444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 rtl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37045AB-0038-4D16-836E-600A3271FA7C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rtl="0"/>
            <a:r>
              <a:rPr lang="en-US" sz="1800" dirty="0">
                <a:solidFill>
                  <a:schemeClr val="tx2"/>
                </a:solidFill>
              </a:rPr>
              <a:t>Making our world </a:t>
            </a:r>
            <a:r>
              <a:rPr lang="en-US" sz="1800">
                <a:solidFill>
                  <a:schemeClr val="tx2"/>
                </a:solidFill>
              </a:rPr>
              <a:t>more productive</a:t>
            </a:r>
            <a:endParaRPr lang="en-US" sz="1800" dirty="0">
              <a:solidFill>
                <a:schemeClr val="tx2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115FC430-CCF7-4725-A714-CDE1DB3A77D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152636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4806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76085" y="1484313"/>
            <a:ext cx="7584115" cy="489743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1"/>
            <a:ext cx="8881533" cy="1022400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3551669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61950" indent="-17145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6CBF2F3-85CF-4106-ABED-CEC21FC368D1}" type="datetime1">
              <a:rPr lang="en-US" noProof="0" smtClean="0"/>
              <a:t>3/9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6641399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88618" y="1484784"/>
            <a:ext cx="5471583" cy="2376124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3"/>
            <a:ext cx="8881533" cy="1023937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E6F0A08E-BD71-477E-8D38-1C8AF8825CB1}" type="datetime1">
              <a:rPr lang="en-US" noProof="0" smtClean="0"/>
              <a:t>3/9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88618" y="4004642"/>
            <a:ext cx="5471583" cy="237710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193458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31800" y="3429003"/>
            <a:ext cx="11328401" cy="295274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715963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53DEA4B-2AFF-4EE4-8885-F4B781317C46}" type="datetime1">
              <a:rPr lang="en-US" noProof="0" smtClean="0"/>
              <a:t>3/9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88618" y="1484315"/>
            <a:ext cx="5471583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80645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62197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41041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Action Title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180601_LGSM_HK_Genesys Telephony Solution proposal</a:t>
            </a:r>
            <a:endParaRPr lang="de-DE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08973" y="1309951"/>
            <a:ext cx="10583572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lang="en-US" b="1" kern="1200" cap="all" baseline="0" dirty="0" smtClean="0">
                <a:latin typeface="LindeDaxPowerPoint" pitchFamily="34" charset="0"/>
              </a:defRPr>
            </a:lvl1pPr>
            <a:lvl2pPr marL="180975" indent="0">
              <a:buNone/>
              <a:defRPr lang="en-US" kern="1200" dirty="0" smtClean="0">
                <a:latin typeface="LindeDaxPowerPoint" pitchFamily="34" charset="0"/>
                <a:ea typeface="+mn-ea"/>
                <a:cs typeface="+mn-cs"/>
              </a:defRPr>
            </a:lvl2pPr>
            <a:lvl3pPr marL="647700" indent="0">
              <a:buNone/>
              <a:defRPr lang="en-US" kern="1200" dirty="0" smtClean="0">
                <a:latin typeface="LindeDaxPowerPoint" pitchFamily="34" charset="0"/>
                <a:ea typeface="+mn-ea"/>
                <a:cs typeface="+mn-cs"/>
              </a:defRPr>
            </a:lvl3pPr>
            <a:lvl4pPr marL="1104900" indent="0">
              <a:buNone/>
              <a:defRPr lang="en-US" kern="1200" dirty="0" smtClean="0">
                <a:latin typeface="LindeDaxPowerPoint" pitchFamily="34" charset="0"/>
                <a:ea typeface="+mn-ea"/>
                <a:cs typeface="+mn-cs"/>
              </a:defRPr>
            </a:lvl4pPr>
            <a:lvl5pPr marL="1562100" indent="0">
              <a:buNone/>
              <a:defRPr lang="en-US" kern="1200" dirty="0">
                <a:latin typeface="LindeDaxPowerPoint" pitchFamily="34" charset="0"/>
                <a:ea typeface="+mn-ea"/>
                <a:cs typeface="+mn-cs"/>
              </a:defRPr>
            </a:lvl5pPr>
          </a:lstStyle>
          <a:p>
            <a:pPr lvl="0">
              <a:lnSpc>
                <a:spcPct val="100000"/>
              </a:lnSpc>
              <a:spcAft>
                <a:spcPct val="0"/>
              </a:spcAft>
            </a:pPr>
            <a:r>
              <a:rPr lang="en-US"/>
              <a:t>CLICK TO ADD SUB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8973" y="1573269"/>
            <a:ext cx="11532695" cy="191309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lick to add Measure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8976320" y="1556792"/>
            <a:ext cx="0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1278279" y="1234687"/>
            <a:ext cx="674372" cy="254296"/>
          </a:xfrm>
          <a:solidFill>
            <a:schemeClr val="bg1"/>
          </a:solidFill>
          <a:effectLst>
            <a:outerShdw dist="25400" dir="8100000" algn="tr" rotWithShape="0">
              <a:schemeClr val="tx1"/>
            </a:outerShdw>
          </a:effectLst>
        </p:spPr>
        <p:txBody>
          <a:bodyPr wrap="none" lIns="54000" tIns="36000" rIns="36000" anchor="ctr" anchorCtr="1">
            <a:spAutoFit/>
          </a:bodyPr>
          <a:lstStyle>
            <a:lvl1pPr marL="0" indent="0" algn="r">
              <a:buNone/>
              <a:defRPr sz="1400" cap="all" baseline="0"/>
            </a:lvl1pPr>
            <a:lvl2pPr marL="266700" indent="0">
              <a:buNone/>
              <a:defRPr sz="1400"/>
            </a:lvl2pPr>
            <a:lvl3pPr marL="542925" indent="0">
              <a:buNone/>
              <a:defRPr sz="1400"/>
            </a:lvl3pPr>
            <a:lvl4pPr marL="809625" indent="0">
              <a:buNone/>
              <a:defRPr sz="1400"/>
            </a:lvl4pPr>
            <a:lvl5pPr marL="1076325" indent="0">
              <a:buNone/>
              <a:defRPr sz="1400"/>
            </a:lvl5pPr>
          </a:lstStyle>
          <a:p>
            <a:pPr lvl="0"/>
            <a:r>
              <a:rPr lang="en-US"/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29686353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56EEAEA-A3B3-4068-AC4D-BAAE5D92BF24}" type="datetime1">
              <a:rPr lang="en-US" noProof="0" smtClean="0"/>
              <a:t>3/9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498734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, Logo at bottom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FC150F-44DE-ED8C-6295-F0EDAA19C7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248906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4" imgH="234" progId="TCLayout.ActiveDocument.1">
                  <p:embed/>
                </p:oleObj>
              </mc:Choice>
              <mc:Fallback>
                <p:oleObj name="think-cell Slide" r:id="rId3" imgW="234" imgH="23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FC150F-44DE-ED8C-6295-F0EDAA19C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1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319205 w 9144000"/>
              <a:gd name="connsiteY0" fmla="*/ 5373923 h 6858000"/>
              <a:gd name="connsiteX1" fmla="*/ 6319205 w 9144000"/>
              <a:gd name="connsiteY1" fmla="*/ 6705600 h 6858000"/>
              <a:gd name="connsiteX2" fmla="*/ 9001125 w 9144000"/>
              <a:gd name="connsiteY2" fmla="*/ 6705600 h 6858000"/>
              <a:gd name="connsiteX3" fmla="*/ 9001125 w 9144000"/>
              <a:gd name="connsiteY3" fmla="*/ 5373923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319205" y="5373923"/>
                </a:moveTo>
                <a:lnTo>
                  <a:pt x="6319205" y="6705600"/>
                </a:lnTo>
                <a:lnTo>
                  <a:pt x="9001125" y="6705600"/>
                </a:lnTo>
                <a:lnTo>
                  <a:pt x="9001125" y="537392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8"/>
            <a:ext cx="11328401" cy="1332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0" tIns="0" rIns="0" anchor="b" anchorCtr="0"/>
          <a:lstStyle>
            <a:lvl1pPr rtl="0"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3573017"/>
            <a:ext cx="11328401" cy="1584173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 rtl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3FBB73C-3321-4EF1-97A8-BF44D636BC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6617" y="237589"/>
            <a:ext cx="4800000" cy="360000"/>
          </a:xfrm>
        </p:spPr>
        <p:txBody>
          <a:bodyPr/>
          <a:lstStyle>
            <a:lvl1pPr marL="0" indent="0" rtl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aim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5CA118E-D26E-46BC-8EAC-D4848714CA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5375148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3564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4882FE5-A3C7-F74D-99EB-D431BABBB8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82806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4" imgH="234" progId="TCLayout.ActiveDocument.1">
                  <p:embed/>
                </p:oleObj>
              </mc:Choice>
              <mc:Fallback>
                <p:oleObj name="think-cell Slide" r:id="rId3" imgW="234" imgH="23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4882FE5-A3C7-F74D-99EB-D431BABBB8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0" tIns="0" rIns="0" anchor="t" anchorCtr="0"/>
          <a:lstStyle>
            <a:lvl1pPr rtl="0"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 rtl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3429000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ctr" rtl="0">
              <a:buNone/>
              <a:defRPr lang="de-DE"/>
            </a:lvl1pPr>
          </a:lstStyle>
          <a:p>
            <a:pPr marL="177800" lvl="0" indent="-177800" algn="ctr"/>
            <a:r>
              <a:rPr lang="en-US" noProof="0" dirty="0"/>
              <a:t>Click icon to add pictur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rtl="0"/>
            <a:r>
              <a:rPr lang="en-US" sz="1800" dirty="0">
                <a:solidFill>
                  <a:schemeClr val="tx2"/>
                </a:solidFill>
              </a:rPr>
              <a:t>Making our world </a:t>
            </a:r>
            <a:r>
              <a:rPr lang="en-US" sz="1800">
                <a:solidFill>
                  <a:schemeClr val="tx2"/>
                </a:solidFill>
              </a:rPr>
              <a:t>more productive</a:t>
            </a:r>
            <a:endParaRPr lang="en-US" sz="1800" dirty="0">
              <a:solidFill>
                <a:schemeClr val="tx2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800637F-3C04-4A0B-94C3-D16E85A504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5375148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4726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0FCDC77-9B28-F533-CD3A-2D0DE5141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917304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4" imgH="234" progId="TCLayout.ActiveDocument.1">
                  <p:embed/>
                </p:oleObj>
              </mc:Choice>
              <mc:Fallback>
                <p:oleObj name="think-cell Slide" r:id="rId3" imgW="234" imgH="23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0FCDC77-9B28-F533-CD3A-2D0DE5141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948488 w 9144000"/>
              <a:gd name="connsiteY0" fmla="*/ 152400 h 6858000"/>
              <a:gd name="connsiteX1" fmla="*/ 6948488 w 9144000"/>
              <a:gd name="connsiteY1" fmla="*/ 1176337 h 6858000"/>
              <a:gd name="connsiteX2" fmla="*/ 9000492 w 9144000"/>
              <a:gd name="connsiteY2" fmla="*/ 1176337 h 6858000"/>
              <a:gd name="connsiteX3" fmla="*/ 9000492 w 9144000"/>
              <a:gd name="connsiteY3" fmla="*/ 152400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948488" y="152400"/>
                </a:moveTo>
                <a:lnTo>
                  <a:pt x="6948488" y="1176337"/>
                </a:lnTo>
                <a:lnTo>
                  <a:pt x="9000492" y="1176337"/>
                </a:lnTo>
                <a:lnTo>
                  <a:pt x="9000492" y="152400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0500" y="152401"/>
            <a:ext cx="8881533" cy="1008000"/>
          </a:xfrm>
          <a:solidFill>
            <a:schemeClr val="bg1"/>
          </a:solidFill>
        </p:spPr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90187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mall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6CC6677-1B04-29EF-D1CE-3910DD386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29441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4" imgH="234" progId="TCLayout.ActiveDocument.1">
                  <p:embed/>
                </p:oleObj>
              </mc:Choice>
              <mc:Fallback>
                <p:oleObj name="think-cell Slide" r:id="rId3" imgW="234" imgH="23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6CC6677-1B04-29EF-D1CE-3910DD386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0501" y="152401"/>
            <a:ext cx="8881532" cy="100806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100000"/>
              </a:lnSpc>
            </a:pPr>
            <a:fld id="{BDE383DA-F68E-4FD3-9E87-F566FEC9F88B}" type="datetime1">
              <a:rPr lang="en-US" smtClean="0"/>
              <a:pPr>
                <a:lnSpc>
                  <a:spcPct val="100000"/>
                </a:lnSpc>
              </a:pPr>
              <a:t>3/9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100000"/>
              </a:lnSpc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190500" y="1341439"/>
            <a:ext cx="11811000" cy="5040312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rtl="0">
              <a:defRPr lang="de-DE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306823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CBAB88E-F455-B3F6-75DF-A9FAE874B3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091760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4" imgH="234" progId="TCLayout.ActiveDocument.1">
                  <p:embed/>
                </p:oleObj>
              </mc:Choice>
              <mc:Fallback>
                <p:oleObj name="think-cell Slide" r:id="rId3" imgW="234" imgH="23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CBAB88E-F455-B3F6-75DF-A9FAE874B3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0501" y="152403"/>
            <a:ext cx="8881532" cy="102393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2" y="1484315"/>
            <a:ext cx="11328399" cy="489743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100000"/>
              </a:lnSpc>
            </a:pPr>
            <a:fld id="{DAB61AD4-455F-4DE0-8A9C-F6BB3C31672D}" type="datetime1">
              <a:rPr lang="en-US" smtClean="0"/>
              <a:pPr>
                <a:lnSpc>
                  <a:spcPct val="100000"/>
                </a:lnSpc>
              </a:pPr>
              <a:t>3/9/2025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100000"/>
              </a:lnSpc>
            </a:pPr>
            <a:r>
              <a:rPr lang="en-US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8163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ADC95A1-8DBA-8A52-AC4E-E649AD54E5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31281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4" imgH="234" progId="TCLayout.ActiveDocument.1">
                  <p:embed/>
                </p:oleObj>
              </mc:Choice>
              <mc:Fallback>
                <p:oleObj name="think-cell Slide" r:id="rId3" imgW="234" imgH="23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ADC95A1-8DBA-8A52-AC4E-E649AD54E5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0501" y="152403"/>
            <a:ext cx="8881532" cy="102393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489743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100000"/>
              </a:lnSpc>
            </a:pPr>
            <a:fld id="{E632994A-4A51-40FE-B3DA-4F0E6CE8B1F8}" type="datetime1">
              <a:rPr lang="en-US" smtClean="0"/>
              <a:pPr>
                <a:lnSpc>
                  <a:spcPct val="100000"/>
                </a:lnSpc>
              </a:pPr>
              <a:t>3/9/2025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lnSpc>
                <a:spcPct val="100000"/>
              </a:lnSpc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88618" y="1484315"/>
            <a:ext cx="5471583" cy="489743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42564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5.emf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oleObject" Target="../embeddings/oleObject18.bin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tags" Target="../tags/tag20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2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65CC3CC-460A-4899-86E4-B1C8B10F60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45663275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53" imgH="353" progId="TCLayout.ActiveDocument.1">
                  <p:embed/>
                </p:oleObj>
              </mc:Choice>
              <mc:Fallback>
                <p:oleObj name="think-cell Slide" r:id="rId20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65CC3CC-460A-4899-86E4-B1C8B10F60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F37D2DB-6F73-4CC3-B5B9-DE46D67303AF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13" name="Rechteck 12"/>
          <p:cNvSpPr/>
          <p:nvPr/>
        </p:nvSpPr>
        <p:spPr bwMode="auto">
          <a:xfrm>
            <a:off x="190499" y="152400"/>
            <a:ext cx="8881535" cy="1023938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31800" y="1484315"/>
            <a:ext cx="11328401" cy="489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Ebene</a:t>
            </a:r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Ebene</a:t>
            </a:r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Ebene</a:t>
            </a:r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Ebene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90501" y="152403"/>
            <a:ext cx="8881532" cy="102393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Titelmasterformat durch Klicken bearbeiten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488000" y="6453336"/>
            <a:ext cx="9792576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rtl="0">
              <a:defRPr lang="de-DE" sz="80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431799" y="6453336"/>
            <a:ext cx="960000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rtl="0">
              <a:defRPr lang="de-DE" sz="800" smtClean="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fld id="{BF17E848-2AB5-4E60-84A2-F57F2AB27A30}" type="datetime1">
              <a:rPr lang="en-US" smtClean="0"/>
              <a:pPr>
                <a:lnSpc>
                  <a:spcPct val="100000"/>
                </a:lnSpc>
              </a:pPr>
              <a:t>3/9/2025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 bwMode="auto">
          <a:xfrm>
            <a:off x="11280577" y="6453336"/>
            <a:ext cx="479625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algn="r" rtl="0">
              <a:lnSpc>
                <a:spcPct val="100000"/>
              </a:lnSpc>
            </a:pPr>
            <a:fld id="{6DAC255C-81C4-45BF-A0B7-822A0D4D0A7D}" type="slidenum">
              <a:rPr lang="en-US" sz="800" noProof="0" smtClean="0">
                <a:solidFill>
                  <a:schemeClr val="tx1"/>
                </a:solidFill>
              </a:rPr>
              <a:pPr lvl="0" algn="r" rtl="0">
                <a:lnSpc>
                  <a:spcPct val="100000"/>
                </a:lnSpc>
              </a:pPr>
              <a:t>‹#›</a:t>
            </a:fld>
            <a:endParaRPr lang="en-US" sz="800" noProof="0" dirty="0">
              <a:solidFill>
                <a:schemeClr val="tx1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61F1652-F4AF-4429-A401-203F19BFFF15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573" y="152636"/>
            <a:ext cx="2731084" cy="1022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63" r:id="rId3"/>
    <p:sldLayoutId id="2147483662" r:id="rId4"/>
    <p:sldLayoutId id="2147483665" r:id="rId5"/>
    <p:sldLayoutId id="2147483656" r:id="rId6"/>
    <p:sldLayoutId id="2147483668" r:id="rId7"/>
    <p:sldLayoutId id="2147483650" r:id="rId8"/>
    <p:sldLayoutId id="2147483658" r:id="rId9"/>
    <p:sldLayoutId id="2147483670" r:id="rId10"/>
    <p:sldLayoutId id="2147483669" r:id="rId11"/>
    <p:sldLayoutId id="2147483654" r:id="rId12"/>
    <p:sldLayoutId id="2147483660" r:id="rId13"/>
    <p:sldLayoutId id="2147483671" r:id="rId14"/>
    <p:sldLayoutId id="2147483673" r:id="rId15"/>
    <p:sldLayoutId id="2147483672" r:id="rId16"/>
  </p:sldLayoutIdLst>
  <p:hf sldNum="0" hdr="0"/>
  <p:txStyles>
    <p:title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2pPr>
      <a:lvl3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3pPr>
      <a:lvl4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4pPr>
      <a:lvl5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9pPr>
    </p:titleStyle>
    <p:bodyStyle>
      <a:lvl1pPr marL="17780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177800" algn="l"/>
        </a:tabLst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415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361950" algn="l"/>
        </a:tabLst>
        <a:defRPr sz="1600">
          <a:solidFill>
            <a:schemeClr val="tx1"/>
          </a:solidFill>
          <a:latin typeface="+mn-lt"/>
        </a:defRPr>
      </a:lvl2pPr>
      <a:lvl3pPr marL="5397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539750" algn="l"/>
        </a:tabLst>
        <a:defRPr sz="1600">
          <a:solidFill>
            <a:schemeClr val="tx1"/>
          </a:solidFill>
          <a:latin typeface="+mn-lt"/>
        </a:defRPr>
      </a:lvl3pPr>
      <a:lvl4pPr marL="7175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717550" algn="l"/>
        </a:tabLst>
        <a:defRPr sz="1600">
          <a:solidFill>
            <a:schemeClr val="tx1"/>
          </a:solidFill>
          <a:latin typeface="+mn-lt"/>
        </a:defRPr>
      </a:lvl4pPr>
      <a:lvl5pPr marL="8953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895350" algn="l"/>
        </a:tabLst>
        <a:defRPr sz="1600">
          <a:solidFill>
            <a:schemeClr val="tx1"/>
          </a:solidFill>
          <a:latin typeface="+mn-lt"/>
        </a:defRPr>
      </a:lvl5pPr>
      <a:lvl6pPr marL="15986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6pPr>
      <a:lvl7pPr marL="20558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7pPr>
      <a:lvl8pPr marL="25130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8pPr>
      <a:lvl9pPr marL="29702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" userDrawn="1">
          <p15:clr>
            <a:srgbClr val="F26B43"/>
          </p15:clr>
        </p15:guide>
        <p15:guide id="2" pos="120" userDrawn="1">
          <p15:clr>
            <a:srgbClr val="F26B43"/>
          </p15:clr>
        </p15:guide>
        <p15:guide id="3" pos="7560" userDrawn="1">
          <p15:clr>
            <a:srgbClr val="F26B43"/>
          </p15:clr>
        </p15:guide>
        <p15:guide id="4" orient="horz" pos="4224" userDrawn="1">
          <p15:clr>
            <a:srgbClr val="F26B43"/>
          </p15:clr>
        </p15:guide>
        <p15:guide id="5" pos="5715" userDrawn="1">
          <p15:clr>
            <a:srgbClr val="F26B43"/>
          </p15:clr>
        </p15:guide>
        <p15:guide id="6" pos="5836" userDrawn="1">
          <p15:clr>
            <a:srgbClr val="F26B43"/>
          </p15:clr>
        </p15:guide>
        <p15:guide id="7" orient="horz" pos="935" userDrawn="1">
          <p15:clr>
            <a:srgbClr val="F26B43"/>
          </p15:clr>
        </p15:guide>
        <p15:guide id="8" orient="horz" pos="845" userDrawn="1">
          <p15:clr>
            <a:srgbClr val="F26B43"/>
          </p15:clr>
        </p15:guide>
        <p15:guide id="9" pos="272" userDrawn="1">
          <p15:clr>
            <a:srgbClr val="F26B43"/>
          </p15:clr>
        </p15:guide>
        <p15:guide id="10" pos="7408" userDrawn="1">
          <p15:clr>
            <a:srgbClr val="F26B43"/>
          </p15:clr>
        </p15:guide>
        <p15:guide id="11" orient="horz" pos="4020" userDrawn="1">
          <p15:clr>
            <a:srgbClr val="F26B43"/>
          </p15:clr>
        </p15:guide>
        <p15:guide id="12" pos="3840" userDrawn="1">
          <p15:clr>
            <a:srgbClr val="F26B43"/>
          </p15:clr>
        </p15:guide>
        <p15:guide id="13" pos="3719" userDrawn="1">
          <p15:clr>
            <a:srgbClr val="F26B43"/>
          </p15:clr>
        </p15:guide>
        <p15:guide id="14" pos="396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A5BEC0-4F4B-4EC5-8527-FE97ACEDA1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16348726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57" imgH="257" progId="TCLayout.ActiveDocument.1">
                  <p:embed/>
                </p:oleObj>
              </mc:Choice>
              <mc:Fallback>
                <p:oleObj name="think-cell Slide" r:id="rId20" imgW="257" imgH="2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A5BEC0-4F4B-4EC5-8527-FE97ACEDA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auto">
          <a:xfrm>
            <a:off x="190499" y="152400"/>
            <a:ext cx="8881535" cy="1023938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31800" y="1484315"/>
            <a:ext cx="11328401" cy="489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Textmasterformat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90501" y="152403"/>
            <a:ext cx="8881532" cy="102393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Titelmasterformat durch Klicken bearbeite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488000" y="6453336"/>
            <a:ext cx="9792576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431799" y="6453336"/>
            <a:ext cx="960000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 smtClean="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fld id="{BF17E848-2AB5-4E60-84A2-F57F2AB27A30}" type="datetime1">
              <a:rPr lang="en-US" noProof="0" smtClean="0"/>
              <a:t>3/9/2025</a:t>
            </a:fld>
            <a:endParaRPr lang="en-GB" noProof="0"/>
          </a:p>
        </p:txBody>
      </p:sp>
      <p:sp>
        <p:nvSpPr>
          <p:cNvPr id="6" name="Rectangle 5"/>
          <p:cNvSpPr/>
          <p:nvPr/>
        </p:nvSpPr>
        <p:spPr bwMode="auto">
          <a:xfrm>
            <a:off x="11280577" y="6453336"/>
            <a:ext cx="479625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algn="r">
              <a:lnSpc>
                <a:spcPct val="100000"/>
              </a:lnSpc>
            </a:pPr>
            <a:fld id="{6DAC255C-81C4-45BF-A0B7-822A0D4D0A7D}" type="slidenum">
              <a:rPr lang="en-GB" sz="800" noProof="0" smtClean="0">
                <a:solidFill>
                  <a:schemeClr val="tx1"/>
                </a:solidFill>
              </a:rPr>
              <a:pPr lvl="0" algn="r">
                <a:lnSpc>
                  <a:spcPct val="100000"/>
                </a:lnSpc>
              </a:pPr>
              <a:t>‹#›</a:t>
            </a:fld>
            <a:endParaRPr lang="en-GB" sz="800" noProof="0">
              <a:solidFill>
                <a:schemeClr val="tx1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61F1652-F4AF-4429-A401-203F19BFFF15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573" y="152636"/>
            <a:ext cx="2731084" cy="102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470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</p:sldLayoutIdLst>
  <p:hf sldNum="0" hdr="0"/>
  <p:txStyles>
    <p:title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2pPr>
      <a:lvl3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3pPr>
      <a:lvl4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4pPr>
      <a:lvl5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9pPr>
    </p:titleStyle>
    <p:bodyStyle>
      <a:lvl1pPr marL="17780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177800" algn="l"/>
        </a:tabLst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415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361950" algn="l"/>
        </a:tabLst>
        <a:defRPr sz="1600">
          <a:solidFill>
            <a:schemeClr val="tx1"/>
          </a:solidFill>
          <a:latin typeface="+mn-lt"/>
        </a:defRPr>
      </a:lvl2pPr>
      <a:lvl3pPr marL="5397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539750" algn="l"/>
        </a:tabLst>
        <a:defRPr sz="1600">
          <a:solidFill>
            <a:schemeClr val="tx1"/>
          </a:solidFill>
          <a:latin typeface="+mn-lt"/>
        </a:defRPr>
      </a:lvl3pPr>
      <a:lvl4pPr marL="7175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717550" algn="l"/>
        </a:tabLst>
        <a:defRPr sz="1600">
          <a:solidFill>
            <a:schemeClr val="tx1"/>
          </a:solidFill>
          <a:latin typeface="+mn-lt"/>
        </a:defRPr>
      </a:lvl4pPr>
      <a:lvl5pPr marL="8953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895350" algn="l"/>
        </a:tabLst>
        <a:defRPr sz="1600">
          <a:solidFill>
            <a:schemeClr val="tx1"/>
          </a:solidFill>
          <a:latin typeface="+mn-lt"/>
        </a:defRPr>
      </a:lvl5pPr>
      <a:lvl6pPr marL="15986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6pPr>
      <a:lvl7pPr marL="20558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7pPr>
      <a:lvl8pPr marL="25130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8pPr>
      <a:lvl9pPr marL="29702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" userDrawn="1">
          <p15:clr>
            <a:srgbClr val="F26B43"/>
          </p15:clr>
        </p15:guide>
        <p15:guide id="2" pos="120" userDrawn="1">
          <p15:clr>
            <a:srgbClr val="F26B43"/>
          </p15:clr>
        </p15:guide>
        <p15:guide id="3" pos="7560" userDrawn="1">
          <p15:clr>
            <a:srgbClr val="F26B43"/>
          </p15:clr>
        </p15:guide>
        <p15:guide id="4" orient="horz" pos="4224" userDrawn="1">
          <p15:clr>
            <a:srgbClr val="F26B43"/>
          </p15:clr>
        </p15:guide>
        <p15:guide id="5" pos="5715" userDrawn="1">
          <p15:clr>
            <a:srgbClr val="F26B43"/>
          </p15:clr>
        </p15:guide>
        <p15:guide id="6" pos="5836" userDrawn="1">
          <p15:clr>
            <a:srgbClr val="F26B43"/>
          </p15:clr>
        </p15:guide>
        <p15:guide id="7" orient="horz" pos="935" userDrawn="1">
          <p15:clr>
            <a:srgbClr val="F26B43"/>
          </p15:clr>
        </p15:guide>
        <p15:guide id="8" orient="horz" pos="845" userDrawn="1">
          <p15:clr>
            <a:srgbClr val="F26B43"/>
          </p15:clr>
        </p15:guide>
        <p15:guide id="9" pos="272" userDrawn="1">
          <p15:clr>
            <a:srgbClr val="F26B43"/>
          </p15:clr>
        </p15:guide>
        <p15:guide id="10" pos="7408" userDrawn="1">
          <p15:clr>
            <a:srgbClr val="F26B43"/>
          </p15:clr>
        </p15:guide>
        <p15:guide id="11" orient="horz" pos="4020" userDrawn="1">
          <p15:clr>
            <a:srgbClr val="F26B43"/>
          </p15:clr>
        </p15:guide>
        <p15:guide id="12" pos="3840" userDrawn="1">
          <p15:clr>
            <a:srgbClr val="F26B43"/>
          </p15:clr>
        </p15:guide>
        <p15:guide id="13" pos="3719" userDrawn="1">
          <p15:clr>
            <a:srgbClr val="F26B43"/>
          </p15:clr>
        </p15:guide>
        <p15:guide id="14" pos="3961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A5BEC0-4F4B-4EC5-8527-FE97ACEDA1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57" imgH="257" progId="TCLayout.ActiveDocument.1">
                  <p:embed/>
                </p:oleObj>
              </mc:Choice>
              <mc:Fallback>
                <p:oleObj name="think-cell Slide" r:id="rId4" imgW="257" imgH="2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A5BEC0-4F4B-4EC5-8527-FE97ACEDA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auto">
          <a:xfrm>
            <a:off x="190499" y="152400"/>
            <a:ext cx="8881535" cy="1023938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31800" y="1484315"/>
            <a:ext cx="11328401" cy="489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Textmasterformat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90501" y="152403"/>
            <a:ext cx="8881532" cy="102393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Titelmasterformat durch Klicken bearbeite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488000" y="6453336"/>
            <a:ext cx="9792576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431799" y="6453336"/>
            <a:ext cx="960000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 smtClean="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fld id="{BF17E848-2AB5-4E60-84A2-F57F2AB27A30}" type="datetime1">
              <a:rPr lang="en-US" noProof="0" smtClean="0"/>
              <a:t>3/9/2025</a:t>
            </a:fld>
            <a:endParaRPr lang="en-GB" noProof="0"/>
          </a:p>
        </p:txBody>
      </p:sp>
      <p:sp>
        <p:nvSpPr>
          <p:cNvPr id="6" name="Rectangle 5"/>
          <p:cNvSpPr/>
          <p:nvPr/>
        </p:nvSpPr>
        <p:spPr bwMode="auto">
          <a:xfrm>
            <a:off x="11280577" y="6453336"/>
            <a:ext cx="479625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algn="r">
              <a:lnSpc>
                <a:spcPct val="100000"/>
              </a:lnSpc>
            </a:pPr>
            <a:fld id="{6DAC255C-81C4-45BF-A0B7-822A0D4D0A7D}" type="slidenum">
              <a:rPr lang="en-GB" sz="800" noProof="0" smtClean="0">
                <a:solidFill>
                  <a:schemeClr val="tx1"/>
                </a:solidFill>
              </a:rPr>
              <a:pPr lvl="0" algn="r">
                <a:lnSpc>
                  <a:spcPct val="100000"/>
                </a:lnSpc>
              </a:pPr>
              <a:t>‹#›</a:t>
            </a:fld>
            <a:endParaRPr lang="en-GB" sz="800" noProof="0">
              <a:solidFill>
                <a:schemeClr val="tx1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61F1652-F4AF-4429-A401-203F19BFFF1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573" y="152636"/>
            <a:ext cx="2731084" cy="102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470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</p:sldLayoutIdLst>
  <p:hf sldNum="0" hdr="0"/>
  <p:txStyles>
    <p:title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2pPr>
      <a:lvl3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3pPr>
      <a:lvl4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4pPr>
      <a:lvl5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9pPr>
    </p:titleStyle>
    <p:bodyStyle>
      <a:lvl1pPr marL="17780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177800" algn="l"/>
        </a:tabLst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415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361950" algn="l"/>
        </a:tabLst>
        <a:defRPr sz="1600">
          <a:solidFill>
            <a:schemeClr val="tx1"/>
          </a:solidFill>
          <a:latin typeface="+mn-lt"/>
        </a:defRPr>
      </a:lvl2pPr>
      <a:lvl3pPr marL="5397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539750" algn="l"/>
        </a:tabLst>
        <a:defRPr sz="1600">
          <a:solidFill>
            <a:schemeClr val="tx1"/>
          </a:solidFill>
          <a:latin typeface="+mn-lt"/>
        </a:defRPr>
      </a:lvl3pPr>
      <a:lvl4pPr marL="7175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717550" algn="l"/>
        </a:tabLst>
        <a:defRPr sz="1600">
          <a:solidFill>
            <a:schemeClr val="tx1"/>
          </a:solidFill>
          <a:latin typeface="+mn-lt"/>
        </a:defRPr>
      </a:lvl4pPr>
      <a:lvl5pPr marL="8953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895350" algn="l"/>
        </a:tabLst>
        <a:defRPr sz="1600">
          <a:solidFill>
            <a:schemeClr val="tx1"/>
          </a:solidFill>
          <a:latin typeface="+mn-lt"/>
        </a:defRPr>
      </a:lvl5pPr>
      <a:lvl6pPr marL="15986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6pPr>
      <a:lvl7pPr marL="20558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7pPr>
      <a:lvl8pPr marL="25130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8pPr>
      <a:lvl9pPr marL="29702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" userDrawn="1">
          <p15:clr>
            <a:srgbClr val="F26B43"/>
          </p15:clr>
        </p15:guide>
        <p15:guide id="2" pos="120" userDrawn="1">
          <p15:clr>
            <a:srgbClr val="F26B43"/>
          </p15:clr>
        </p15:guide>
        <p15:guide id="3" pos="7560" userDrawn="1">
          <p15:clr>
            <a:srgbClr val="F26B43"/>
          </p15:clr>
        </p15:guide>
        <p15:guide id="4" orient="horz" pos="4224" userDrawn="1">
          <p15:clr>
            <a:srgbClr val="F26B43"/>
          </p15:clr>
        </p15:guide>
        <p15:guide id="5" pos="5715" userDrawn="1">
          <p15:clr>
            <a:srgbClr val="F26B43"/>
          </p15:clr>
        </p15:guide>
        <p15:guide id="6" pos="5836" userDrawn="1">
          <p15:clr>
            <a:srgbClr val="F26B43"/>
          </p15:clr>
        </p15:guide>
        <p15:guide id="7" orient="horz" pos="935" userDrawn="1">
          <p15:clr>
            <a:srgbClr val="F26B43"/>
          </p15:clr>
        </p15:guide>
        <p15:guide id="8" orient="horz" pos="845" userDrawn="1">
          <p15:clr>
            <a:srgbClr val="F26B43"/>
          </p15:clr>
        </p15:guide>
        <p15:guide id="9" pos="272" userDrawn="1">
          <p15:clr>
            <a:srgbClr val="F26B43"/>
          </p15:clr>
        </p15:guide>
        <p15:guide id="10" pos="7408" userDrawn="1">
          <p15:clr>
            <a:srgbClr val="F26B43"/>
          </p15:clr>
        </p15:guide>
        <p15:guide id="11" orient="horz" pos="4020" userDrawn="1">
          <p15:clr>
            <a:srgbClr val="F26B43"/>
          </p15:clr>
        </p15:guide>
        <p15:guide id="12" pos="3840" userDrawn="1">
          <p15:clr>
            <a:srgbClr val="F26B43"/>
          </p15:clr>
        </p15:guide>
        <p15:guide id="13" pos="3719" userDrawn="1">
          <p15:clr>
            <a:srgbClr val="F26B43"/>
          </p15:clr>
        </p15:guide>
        <p15:guide id="14" pos="396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0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lindegroup.sharepoint.com/:p:/r/sites/msteams_eeaf33/Shared%20Documents/General/Deployments%20Americas/01%20US_Mexico/00%20Project%20Management/SAP%20S4%20US%20%26%20Mexico%20Project%20Governance.pptx?d=wd26bfffd6a9c4268899a0057dc79bc4b&amp;csf=1&amp;web=1&amp;e=aUyjhf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s://lindegroup.sharepoint.com/sites/msteams_eeaf33/Shared%20Documents/General/Deployments%20Americas/01%20US_Mexico/01%20Mobilisation/Interfaces/RNA_interface%20list.xlsx" TargetMode="Externa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15DCCE-AC5C-4D81-8CF6-5616EE6744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31" imgH="131" progId="TCLayout.ActiveDocument.1">
                  <p:embed/>
                </p:oleObj>
              </mc:Choice>
              <mc:Fallback>
                <p:oleObj name="think-cell Slide" r:id="rId4" imgW="131" imgH="1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15DCCE-AC5C-4D81-8CF6-5616EE6744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31800" y="3648835"/>
            <a:ext cx="11328401" cy="1115997"/>
          </a:xfrm>
        </p:spPr>
        <p:txBody>
          <a:bodyPr vert="horz"/>
          <a:lstStyle/>
          <a:p>
            <a:r>
              <a:rPr lang="en-US" sz="2800" noProof="0" dirty="0"/>
              <a:t>SAP S4 HANA Technical Transformation Project, US/MX</a:t>
            </a:r>
            <a:br>
              <a:rPr lang="en-GB" noProof="0" dirty="0"/>
            </a:br>
            <a:r>
              <a:rPr lang="en-GB" sz="2800" b="0" dirty="0">
                <a:solidFill>
                  <a:schemeClr val="tx2"/>
                </a:solidFill>
              </a:rPr>
              <a:t>Satellites Overview</a:t>
            </a:r>
            <a:endParaRPr lang="en-GB" sz="2800" b="0" noProof="0" dirty="0">
              <a:solidFill>
                <a:schemeClr val="tx2"/>
              </a:solidFill>
            </a:endParaRPr>
          </a:p>
        </p:txBody>
      </p:sp>
      <p:pic>
        <p:nvPicPr>
          <p:cNvPr id="6" name="Bildplatzhalter 5" descr="View of earth captured from space">
            <a:extLst>
              <a:ext uri="{FF2B5EF4-FFF2-40B4-BE49-F238E27FC236}">
                <a16:creationId xmlns:a16="http://schemas.microsoft.com/office/drawing/2014/main" id="{06EB0DD5-26DC-4E51-89AD-F25CC26831A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4" name="Subtitle 3">
            <a:extLst>
              <a:ext uri="{FF2B5EF4-FFF2-40B4-BE49-F238E27FC236}">
                <a16:creationId xmlns:a16="http://schemas.microsoft.com/office/drawing/2014/main" id="{83B27F85-17B0-EEE7-EFAB-D6BB9C97FE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799" y="5227200"/>
            <a:ext cx="7607559" cy="902100"/>
          </a:xfrm>
        </p:spPr>
        <p:txBody>
          <a:bodyPr/>
          <a:lstStyle/>
          <a:p>
            <a:r>
              <a:rPr lang="en-GB" dirty="0"/>
              <a:t>March 10-14, 2025</a:t>
            </a:r>
          </a:p>
        </p:txBody>
      </p:sp>
    </p:spTree>
    <p:extLst>
      <p:ext uri="{BB962C8B-B14F-4D97-AF65-F5344CB8AC3E}">
        <p14:creationId xmlns:p14="http://schemas.microsoft.com/office/powerpoint/2010/main" val="19776606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tangle 6">
            <a:extLst>
              <a:ext uri="{FF2B5EF4-FFF2-40B4-BE49-F238E27FC236}">
                <a16:creationId xmlns:a16="http://schemas.microsoft.com/office/drawing/2014/main" id="{67EDB204-421C-28EC-F1F8-2F2439ACDB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6135" y="2165283"/>
            <a:ext cx="455317" cy="4305538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FF29418-1C8A-B008-FEE1-76E35BC593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-MX HANA Satellites Overview</a:t>
            </a:r>
            <a:br>
              <a:rPr lang="en-US" dirty="0"/>
            </a:br>
            <a:r>
              <a:rPr lang="en-US" b="0" dirty="0">
                <a:solidFill>
                  <a:schemeClr val="tx2"/>
                </a:solidFill>
              </a:rPr>
              <a:t>Timeline</a:t>
            </a:r>
            <a:endParaRPr lang="en-GB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27854E8C-EB9B-6772-7576-7FE037B1A1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1914" y="2224887"/>
            <a:ext cx="483198" cy="4245934"/>
          </a:xfrm>
          <a:prstGeom prst="rect">
            <a:avLst/>
          </a:prstGeom>
          <a:solidFill>
            <a:srgbClr val="FFFFCC">
              <a:alpha val="23137"/>
            </a:srgbClr>
          </a:solidFill>
          <a:ln>
            <a:noFill/>
          </a:ln>
          <a:effectLst/>
        </p:spPr>
        <p:txBody>
          <a:bodyPr wrap="none" lIns="11" tIns="5" rIns="11" bIns="5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78" name="Rectangle 6">
            <a:extLst>
              <a:ext uri="{FF2B5EF4-FFF2-40B4-BE49-F238E27FC236}">
                <a16:creationId xmlns:a16="http://schemas.microsoft.com/office/drawing/2014/main" id="{2CEBBD23-C8E2-0F86-2AD9-6354E66279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0896" y="2186653"/>
            <a:ext cx="467301" cy="4284168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79" name="Rectangle 6">
            <a:extLst>
              <a:ext uri="{FF2B5EF4-FFF2-40B4-BE49-F238E27FC236}">
                <a16:creationId xmlns:a16="http://schemas.microsoft.com/office/drawing/2014/main" id="{37083A15-B6EB-16B0-4867-FF7BD7E0FE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9306" y="2047553"/>
            <a:ext cx="456952" cy="4423268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80" name="Rectangle 6">
            <a:extLst>
              <a:ext uri="{FF2B5EF4-FFF2-40B4-BE49-F238E27FC236}">
                <a16:creationId xmlns:a16="http://schemas.microsoft.com/office/drawing/2014/main" id="{ABA54AE6-0E64-4332-76F8-652E729FC6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8522" y="2186653"/>
            <a:ext cx="467301" cy="4284168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81" name="Rectangle 6">
            <a:extLst>
              <a:ext uri="{FF2B5EF4-FFF2-40B4-BE49-F238E27FC236}">
                <a16:creationId xmlns:a16="http://schemas.microsoft.com/office/drawing/2014/main" id="{9E6F8AFF-713E-CCCA-712E-21AB6294F6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9319" y="2190393"/>
            <a:ext cx="488044" cy="4280428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82" name="Rectangle 6">
            <a:extLst>
              <a:ext uri="{FF2B5EF4-FFF2-40B4-BE49-F238E27FC236}">
                <a16:creationId xmlns:a16="http://schemas.microsoft.com/office/drawing/2014/main" id="{7EB2483A-6611-5699-D6C0-DD8C6E8F28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0851" y="2075215"/>
            <a:ext cx="463672" cy="4395606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83" name="Rectangle 6">
            <a:extLst>
              <a:ext uri="{FF2B5EF4-FFF2-40B4-BE49-F238E27FC236}">
                <a16:creationId xmlns:a16="http://schemas.microsoft.com/office/drawing/2014/main" id="{C1214E1F-670D-A9E6-019F-8178F33B8E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4228" y="2192338"/>
            <a:ext cx="465859" cy="4278483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85" name="Rectangle 6">
            <a:extLst>
              <a:ext uri="{FF2B5EF4-FFF2-40B4-BE49-F238E27FC236}">
                <a16:creationId xmlns:a16="http://schemas.microsoft.com/office/drawing/2014/main" id="{341DA6FF-DA95-9BD8-4CB6-9F957F522D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7002" y="2188917"/>
            <a:ext cx="452425" cy="4281904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86" name="Rectangle 15">
            <a:extLst>
              <a:ext uri="{FF2B5EF4-FFF2-40B4-BE49-F238E27FC236}">
                <a16:creationId xmlns:a16="http://schemas.microsoft.com/office/drawing/2014/main" id="{ECDE6483-FD51-53AF-57AE-170A4854C0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7094" y="1272314"/>
            <a:ext cx="457039" cy="199537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2024</a:t>
            </a:r>
          </a:p>
        </p:txBody>
      </p:sp>
      <p:sp>
        <p:nvSpPr>
          <p:cNvPr id="87" name="Rectangle 35">
            <a:extLst>
              <a:ext uri="{FF2B5EF4-FFF2-40B4-BE49-F238E27FC236}">
                <a16:creationId xmlns:a16="http://schemas.microsoft.com/office/drawing/2014/main" id="{2907C770-2282-6209-CAEB-9662D1E30C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6990" y="1472934"/>
            <a:ext cx="464275" cy="29790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Dec</a:t>
            </a:r>
          </a:p>
        </p:txBody>
      </p:sp>
      <p:sp>
        <p:nvSpPr>
          <p:cNvPr id="88" name="Rectangle 35">
            <a:extLst>
              <a:ext uri="{FF2B5EF4-FFF2-40B4-BE49-F238E27FC236}">
                <a16:creationId xmlns:a16="http://schemas.microsoft.com/office/drawing/2014/main" id="{FAE08A03-B021-E439-7CB4-6B38BC050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303" y="1472934"/>
            <a:ext cx="464275" cy="301029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Jan</a:t>
            </a:r>
          </a:p>
        </p:txBody>
      </p:sp>
      <p:sp>
        <p:nvSpPr>
          <p:cNvPr id="89" name="Line 19">
            <a:extLst>
              <a:ext uri="{FF2B5EF4-FFF2-40B4-BE49-F238E27FC236}">
                <a16:creationId xmlns:a16="http://schemas.microsoft.com/office/drawing/2014/main" id="{4E057DA5-0A56-E81C-B2F1-C7BAD7710B44}"/>
              </a:ext>
            </a:extLst>
          </p:cNvPr>
          <p:cNvSpPr>
            <a:spLocks noChangeShapeType="1"/>
          </p:cNvSpPr>
          <p:nvPr/>
        </p:nvSpPr>
        <p:spPr bwMode="auto">
          <a:xfrm>
            <a:off x="4353160" y="2059557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90" name="Line 19">
            <a:extLst>
              <a:ext uri="{FF2B5EF4-FFF2-40B4-BE49-F238E27FC236}">
                <a16:creationId xmlns:a16="http://schemas.microsoft.com/office/drawing/2014/main" id="{A12B9B0E-B1DA-F7AE-3B5B-766D21C67815}"/>
              </a:ext>
            </a:extLst>
          </p:cNvPr>
          <p:cNvSpPr>
            <a:spLocks noChangeShapeType="1"/>
          </p:cNvSpPr>
          <p:nvPr/>
        </p:nvSpPr>
        <p:spPr bwMode="auto">
          <a:xfrm>
            <a:off x="8535765" y="2059557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91" name="Line 19">
            <a:extLst>
              <a:ext uri="{FF2B5EF4-FFF2-40B4-BE49-F238E27FC236}">
                <a16:creationId xmlns:a16="http://schemas.microsoft.com/office/drawing/2014/main" id="{E13D8B54-2969-2372-D286-C124A9538FDA}"/>
              </a:ext>
            </a:extLst>
          </p:cNvPr>
          <p:cNvSpPr>
            <a:spLocks noChangeShapeType="1"/>
          </p:cNvSpPr>
          <p:nvPr/>
        </p:nvSpPr>
        <p:spPr bwMode="auto">
          <a:xfrm>
            <a:off x="2950604" y="2059557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92" name="Line 19">
            <a:extLst>
              <a:ext uri="{FF2B5EF4-FFF2-40B4-BE49-F238E27FC236}">
                <a16:creationId xmlns:a16="http://schemas.microsoft.com/office/drawing/2014/main" id="{2ECDA75D-26F8-049D-B1F6-B08C6AE1F16A}"/>
              </a:ext>
            </a:extLst>
          </p:cNvPr>
          <p:cNvSpPr>
            <a:spLocks noChangeShapeType="1"/>
          </p:cNvSpPr>
          <p:nvPr/>
        </p:nvSpPr>
        <p:spPr bwMode="auto">
          <a:xfrm>
            <a:off x="1555187" y="2059557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93" name="Rectangle 20">
            <a:extLst>
              <a:ext uri="{FF2B5EF4-FFF2-40B4-BE49-F238E27FC236}">
                <a16:creationId xmlns:a16="http://schemas.microsoft.com/office/drawing/2014/main" id="{3D5378CA-9095-FA50-DF5F-CC800A7B38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3616" y="1472934"/>
            <a:ext cx="465861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Feb</a:t>
            </a:r>
          </a:p>
        </p:txBody>
      </p:sp>
      <p:sp>
        <p:nvSpPr>
          <p:cNvPr id="94" name="Rectangle 21">
            <a:extLst>
              <a:ext uri="{FF2B5EF4-FFF2-40B4-BE49-F238E27FC236}">
                <a16:creationId xmlns:a16="http://schemas.microsoft.com/office/drawing/2014/main" id="{9729BC38-70F4-1305-266D-F6E6D4F229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8515" y="1472934"/>
            <a:ext cx="464276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Mar</a:t>
            </a:r>
          </a:p>
        </p:txBody>
      </p:sp>
      <p:sp>
        <p:nvSpPr>
          <p:cNvPr id="95" name="Rectangle 24">
            <a:extLst>
              <a:ext uri="{FF2B5EF4-FFF2-40B4-BE49-F238E27FC236}">
                <a16:creationId xmlns:a16="http://schemas.microsoft.com/office/drawing/2014/main" id="{3661E129-9DB9-5C1C-9394-FF458E94AC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41829" y="1472934"/>
            <a:ext cx="465861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April</a:t>
            </a:r>
          </a:p>
        </p:txBody>
      </p:sp>
      <p:sp>
        <p:nvSpPr>
          <p:cNvPr id="96" name="Rectangle 25">
            <a:extLst>
              <a:ext uri="{FF2B5EF4-FFF2-40B4-BE49-F238E27FC236}">
                <a16:creationId xmlns:a16="http://schemas.microsoft.com/office/drawing/2014/main" id="{ACE72F7F-AB16-520E-C58A-33BA741CDE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6728" y="1472934"/>
            <a:ext cx="465861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May</a:t>
            </a:r>
          </a:p>
        </p:txBody>
      </p:sp>
      <p:sp>
        <p:nvSpPr>
          <p:cNvPr id="97" name="Line 19">
            <a:extLst>
              <a:ext uri="{FF2B5EF4-FFF2-40B4-BE49-F238E27FC236}">
                <a16:creationId xmlns:a16="http://schemas.microsoft.com/office/drawing/2014/main" id="{4E47968D-C2BA-368D-2B37-510CD2133C1F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7331" y="2059557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98" name="Rechteck 107">
            <a:extLst>
              <a:ext uri="{FF2B5EF4-FFF2-40B4-BE49-F238E27FC236}">
                <a16:creationId xmlns:a16="http://schemas.microsoft.com/office/drawing/2014/main" id="{F911D883-34EB-368F-48DA-D5733F82D004}"/>
              </a:ext>
            </a:extLst>
          </p:cNvPr>
          <p:cNvSpPr/>
          <p:nvPr/>
        </p:nvSpPr>
        <p:spPr bwMode="auto">
          <a:xfrm>
            <a:off x="1098730" y="5309655"/>
            <a:ext cx="3720076" cy="146961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xyz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99" name="Rectangle 25">
            <a:extLst>
              <a:ext uri="{FF2B5EF4-FFF2-40B4-BE49-F238E27FC236}">
                <a16:creationId xmlns:a16="http://schemas.microsoft.com/office/drawing/2014/main" id="{45A2485A-CC5F-46EB-5069-90E09CD62B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1631" y="1472934"/>
            <a:ext cx="465861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June</a:t>
            </a:r>
          </a:p>
        </p:txBody>
      </p:sp>
      <p:sp>
        <p:nvSpPr>
          <p:cNvPr id="100" name="Line 19">
            <a:extLst>
              <a:ext uri="{FF2B5EF4-FFF2-40B4-BE49-F238E27FC236}">
                <a16:creationId xmlns:a16="http://schemas.microsoft.com/office/drawing/2014/main" id="{27394242-AAC8-09DE-B334-B49FCA2038A5}"/>
              </a:ext>
            </a:extLst>
          </p:cNvPr>
          <p:cNvSpPr>
            <a:spLocks noChangeShapeType="1"/>
          </p:cNvSpPr>
          <p:nvPr/>
        </p:nvSpPr>
        <p:spPr bwMode="auto">
          <a:xfrm>
            <a:off x="5729714" y="2059557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101" name="Rechteck 107">
            <a:extLst>
              <a:ext uri="{FF2B5EF4-FFF2-40B4-BE49-F238E27FC236}">
                <a16:creationId xmlns:a16="http://schemas.microsoft.com/office/drawing/2014/main" id="{D1B4718C-92E3-C7FC-71B0-EE0CF0FA633B}"/>
              </a:ext>
            </a:extLst>
          </p:cNvPr>
          <p:cNvSpPr/>
          <p:nvPr/>
        </p:nvSpPr>
        <p:spPr bwMode="auto">
          <a:xfrm>
            <a:off x="1092889" y="1787167"/>
            <a:ext cx="7907891" cy="43051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102" name="Rechteck 116">
            <a:extLst>
              <a:ext uri="{FF2B5EF4-FFF2-40B4-BE49-F238E27FC236}">
                <a16:creationId xmlns:a16="http://schemas.microsoft.com/office/drawing/2014/main" id="{2D111641-5044-CEB8-920C-1AB63C782C33}"/>
              </a:ext>
            </a:extLst>
          </p:cNvPr>
          <p:cNvSpPr/>
          <p:nvPr/>
        </p:nvSpPr>
        <p:spPr bwMode="auto">
          <a:xfrm>
            <a:off x="7186925" y="6584711"/>
            <a:ext cx="571714" cy="1208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Regional</a:t>
            </a:r>
          </a:p>
        </p:txBody>
      </p:sp>
      <p:sp>
        <p:nvSpPr>
          <p:cNvPr id="103" name="Rechteck 117">
            <a:extLst>
              <a:ext uri="{FF2B5EF4-FFF2-40B4-BE49-F238E27FC236}">
                <a16:creationId xmlns:a16="http://schemas.microsoft.com/office/drawing/2014/main" id="{6B4B2B35-2F49-1338-1C58-6BEF099B0735}"/>
              </a:ext>
            </a:extLst>
          </p:cNvPr>
          <p:cNvSpPr/>
          <p:nvPr/>
        </p:nvSpPr>
        <p:spPr bwMode="auto">
          <a:xfrm>
            <a:off x="7787574" y="6584711"/>
            <a:ext cx="571714" cy="120886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Corporate</a:t>
            </a:r>
          </a:p>
        </p:txBody>
      </p:sp>
      <p:sp>
        <p:nvSpPr>
          <p:cNvPr id="105" name="Rectangle 35">
            <a:extLst>
              <a:ext uri="{FF2B5EF4-FFF2-40B4-BE49-F238E27FC236}">
                <a16:creationId xmlns:a16="http://schemas.microsoft.com/office/drawing/2014/main" id="{FB2F0D43-57C7-2AE1-FDDF-1B717BA7D4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3673" y="1471851"/>
            <a:ext cx="464275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Aug</a:t>
            </a:r>
          </a:p>
        </p:txBody>
      </p:sp>
      <p:sp>
        <p:nvSpPr>
          <p:cNvPr id="106" name="Rectangle 35">
            <a:extLst>
              <a:ext uri="{FF2B5EF4-FFF2-40B4-BE49-F238E27FC236}">
                <a16:creationId xmlns:a16="http://schemas.microsoft.com/office/drawing/2014/main" id="{6B7F4735-A279-49F2-DF5E-6B67F38A25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66986" y="1471851"/>
            <a:ext cx="464275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Sep</a:t>
            </a:r>
          </a:p>
        </p:txBody>
      </p:sp>
      <p:sp>
        <p:nvSpPr>
          <p:cNvPr id="107" name="Rectangle 35">
            <a:extLst>
              <a:ext uri="{FF2B5EF4-FFF2-40B4-BE49-F238E27FC236}">
                <a16:creationId xmlns:a16="http://schemas.microsoft.com/office/drawing/2014/main" id="{8DE2FCAE-DBB8-B3B7-8005-1784E33003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0360" y="1471851"/>
            <a:ext cx="464275" cy="297822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July</a:t>
            </a:r>
          </a:p>
        </p:txBody>
      </p: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BBF9199B-1D3C-951A-E88B-F7CDCDE3BABD}"/>
              </a:ext>
            </a:extLst>
          </p:cNvPr>
          <p:cNvCxnSpPr>
            <a:cxnSpLocks/>
          </p:cNvCxnSpPr>
          <p:nvPr/>
        </p:nvCxnSpPr>
        <p:spPr bwMode="auto">
          <a:xfrm flipV="1">
            <a:off x="1097524" y="6451251"/>
            <a:ext cx="7880724" cy="2442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9" name="Rechteck 107">
            <a:extLst>
              <a:ext uri="{FF2B5EF4-FFF2-40B4-BE49-F238E27FC236}">
                <a16:creationId xmlns:a16="http://schemas.microsoft.com/office/drawing/2014/main" id="{F972938E-8D30-1944-8F4E-30CAB57FC631}"/>
              </a:ext>
            </a:extLst>
          </p:cNvPr>
          <p:cNvSpPr/>
          <p:nvPr/>
        </p:nvSpPr>
        <p:spPr bwMode="auto">
          <a:xfrm>
            <a:off x="2485574" y="1927932"/>
            <a:ext cx="491532" cy="194756"/>
          </a:xfrm>
          <a:prstGeom prst="rect">
            <a:avLst/>
          </a:prstGeom>
          <a:solidFill>
            <a:srgbClr val="DC78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 Analyze &amp;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Design</a:t>
            </a:r>
          </a:p>
        </p:txBody>
      </p:sp>
      <p:sp>
        <p:nvSpPr>
          <p:cNvPr id="110" name="Rechteck 107">
            <a:extLst>
              <a:ext uri="{FF2B5EF4-FFF2-40B4-BE49-F238E27FC236}">
                <a16:creationId xmlns:a16="http://schemas.microsoft.com/office/drawing/2014/main" id="{E919DA9D-BCF5-E324-C43A-478F7C1B0B7E}"/>
              </a:ext>
            </a:extLst>
          </p:cNvPr>
          <p:cNvSpPr/>
          <p:nvPr/>
        </p:nvSpPr>
        <p:spPr bwMode="auto">
          <a:xfrm>
            <a:off x="1090903" y="1927932"/>
            <a:ext cx="1391555" cy="194756"/>
          </a:xfrm>
          <a:prstGeom prst="rect">
            <a:avLst/>
          </a:prstGeom>
          <a:solidFill>
            <a:srgbClr val="DC78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Mobilization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33003B0D-232D-779A-D4D6-18A1497541EF}"/>
              </a:ext>
            </a:extLst>
          </p:cNvPr>
          <p:cNvSpPr txBox="1"/>
          <p:nvPr/>
        </p:nvSpPr>
        <p:spPr>
          <a:xfrm>
            <a:off x="487270" y="4316876"/>
            <a:ext cx="60982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System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build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2300D8E3-DB9B-DB36-CF2A-787870292260}"/>
              </a:ext>
            </a:extLst>
          </p:cNvPr>
          <p:cNvSpPr txBox="1"/>
          <p:nvPr/>
        </p:nvSpPr>
        <p:spPr>
          <a:xfrm>
            <a:off x="465550" y="2739143"/>
            <a:ext cx="691147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Development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&amp;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Functional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9897273D-46F2-0569-3AE8-BFADEBBA3690}"/>
              </a:ext>
            </a:extLst>
          </p:cNvPr>
          <p:cNvSpPr txBox="1"/>
          <p:nvPr/>
        </p:nvSpPr>
        <p:spPr>
          <a:xfrm>
            <a:off x="521738" y="4851650"/>
            <a:ext cx="594873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Reporting</a:t>
            </a: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32963C18-097C-0B30-C62D-164032FDF093}"/>
              </a:ext>
            </a:extLst>
          </p:cNvPr>
          <p:cNvCxnSpPr>
            <a:cxnSpLocks/>
          </p:cNvCxnSpPr>
          <p:nvPr/>
        </p:nvCxnSpPr>
        <p:spPr bwMode="auto">
          <a:xfrm flipV="1">
            <a:off x="344799" y="4647645"/>
            <a:ext cx="8655981" cy="30014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CD7D60D7-8BAE-461C-9764-FA4198565056}"/>
              </a:ext>
            </a:extLst>
          </p:cNvPr>
          <p:cNvCxnSpPr>
            <a:cxnSpLocks/>
          </p:cNvCxnSpPr>
          <p:nvPr/>
        </p:nvCxnSpPr>
        <p:spPr bwMode="auto">
          <a:xfrm flipV="1">
            <a:off x="344799" y="5205375"/>
            <a:ext cx="8663685" cy="26674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6B64B02C-0CBB-712E-5535-DB2A0727F5AA}"/>
              </a:ext>
            </a:extLst>
          </p:cNvPr>
          <p:cNvCxnSpPr>
            <a:cxnSpLocks/>
          </p:cNvCxnSpPr>
          <p:nvPr/>
        </p:nvCxnSpPr>
        <p:spPr bwMode="auto">
          <a:xfrm flipV="1">
            <a:off x="344799" y="5509101"/>
            <a:ext cx="8655981" cy="30342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id="{C3DE79C8-60FF-DF4B-AC0F-A2A968ABD15E}"/>
              </a:ext>
            </a:extLst>
          </p:cNvPr>
          <p:cNvSpPr txBox="1"/>
          <p:nvPr/>
        </p:nvSpPr>
        <p:spPr>
          <a:xfrm>
            <a:off x="635773" y="3904925"/>
            <a:ext cx="323720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SDT</a:t>
            </a:r>
          </a:p>
        </p:txBody>
      </p:sp>
      <p:sp>
        <p:nvSpPr>
          <p:cNvPr id="120" name="Rechteck 107">
            <a:extLst>
              <a:ext uri="{FF2B5EF4-FFF2-40B4-BE49-F238E27FC236}">
                <a16:creationId xmlns:a16="http://schemas.microsoft.com/office/drawing/2014/main" id="{440DF2A0-6062-1F58-7370-8409D1741620}"/>
              </a:ext>
            </a:extLst>
          </p:cNvPr>
          <p:cNvSpPr/>
          <p:nvPr/>
        </p:nvSpPr>
        <p:spPr bwMode="auto">
          <a:xfrm>
            <a:off x="2957527" y="1927932"/>
            <a:ext cx="1661230" cy="194756"/>
          </a:xfrm>
          <a:prstGeom prst="rect">
            <a:avLst/>
          </a:prstGeom>
          <a:solidFill>
            <a:srgbClr val="DC78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 Develop</a:t>
            </a:r>
          </a:p>
        </p:txBody>
      </p:sp>
      <p:sp>
        <p:nvSpPr>
          <p:cNvPr id="121" name="Rechteck 107">
            <a:extLst>
              <a:ext uri="{FF2B5EF4-FFF2-40B4-BE49-F238E27FC236}">
                <a16:creationId xmlns:a16="http://schemas.microsoft.com/office/drawing/2014/main" id="{2DD743A3-339C-1B87-AB36-321DA024290A}"/>
              </a:ext>
            </a:extLst>
          </p:cNvPr>
          <p:cNvSpPr/>
          <p:nvPr/>
        </p:nvSpPr>
        <p:spPr bwMode="auto">
          <a:xfrm>
            <a:off x="1098624" y="2255491"/>
            <a:ext cx="1736305" cy="151671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Archiving execution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5257BE80-D577-104C-AED5-28B0C953B879}"/>
              </a:ext>
            </a:extLst>
          </p:cNvPr>
          <p:cNvSpPr txBox="1"/>
          <p:nvPr/>
        </p:nvSpPr>
        <p:spPr>
          <a:xfrm>
            <a:off x="542361" y="2200803"/>
            <a:ext cx="554851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Archiving</a:t>
            </a:r>
          </a:p>
        </p:txBody>
      </p: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3D59B8D1-A971-A781-9AB0-75FA55EA2A6B}"/>
              </a:ext>
            </a:extLst>
          </p:cNvPr>
          <p:cNvCxnSpPr>
            <a:cxnSpLocks/>
          </p:cNvCxnSpPr>
          <p:nvPr/>
        </p:nvCxnSpPr>
        <p:spPr bwMode="auto">
          <a:xfrm flipV="1">
            <a:off x="389275" y="2460979"/>
            <a:ext cx="3494833" cy="2166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7" name="Rechteck 107">
            <a:extLst>
              <a:ext uri="{FF2B5EF4-FFF2-40B4-BE49-F238E27FC236}">
                <a16:creationId xmlns:a16="http://schemas.microsoft.com/office/drawing/2014/main" id="{0133D9A4-5053-C385-42B5-B2C02F495551}"/>
              </a:ext>
            </a:extLst>
          </p:cNvPr>
          <p:cNvSpPr/>
          <p:nvPr/>
        </p:nvSpPr>
        <p:spPr bwMode="auto">
          <a:xfrm>
            <a:off x="2950604" y="6235052"/>
            <a:ext cx="476398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Approach</a:t>
            </a:r>
          </a:p>
        </p:txBody>
      </p:sp>
      <p:sp>
        <p:nvSpPr>
          <p:cNvPr id="128" name="Rechteck 107">
            <a:extLst>
              <a:ext uri="{FF2B5EF4-FFF2-40B4-BE49-F238E27FC236}">
                <a16:creationId xmlns:a16="http://schemas.microsoft.com/office/drawing/2014/main" id="{44A7718D-71F2-3223-78AF-EFCAF0D40F10}"/>
              </a:ext>
            </a:extLst>
          </p:cNvPr>
          <p:cNvSpPr/>
          <p:nvPr/>
        </p:nvSpPr>
        <p:spPr bwMode="auto">
          <a:xfrm>
            <a:off x="4356135" y="6235052"/>
            <a:ext cx="926030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Build Training Material</a:t>
            </a:r>
          </a:p>
        </p:txBody>
      </p: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AA6E9492-366D-10DB-0E9F-1E68298A0783}"/>
              </a:ext>
            </a:extLst>
          </p:cNvPr>
          <p:cNvCxnSpPr>
            <a:cxnSpLocks/>
          </p:cNvCxnSpPr>
          <p:nvPr/>
        </p:nvCxnSpPr>
        <p:spPr bwMode="auto">
          <a:xfrm flipV="1">
            <a:off x="344799" y="4218179"/>
            <a:ext cx="8663685" cy="50356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2" name="TextBox 131">
            <a:extLst>
              <a:ext uri="{FF2B5EF4-FFF2-40B4-BE49-F238E27FC236}">
                <a16:creationId xmlns:a16="http://schemas.microsoft.com/office/drawing/2014/main" id="{23DCE6EB-2E2B-3580-396F-BC5614DBB557}"/>
              </a:ext>
            </a:extLst>
          </p:cNvPr>
          <p:cNvSpPr txBox="1"/>
          <p:nvPr/>
        </p:nvSpPr>
        <p:spPr>
          <a:xfrm>
            <a:off x="456274" y="5969004"/>
            <a:ext cx="723155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Development</a:t>
            </a:r>
          </a:p>
        </p:txBody>
      </p:sp>
      <p:sp>
        <p:nvSpPr>
          <p:cNvPr id="133" name="Rectangle 35">
            <a:extLst>
              <a:ext uri="{FF2B5EF4-FFF2-40B4-BE49-F238E27FC236}">
                <a16:creationId xmlns:a16="http://schemas.microsoft.com/office/drawing/2014/main" id="{2240A1F8-0329-CE4C-F96B-E9D54B93E0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39516" y="1471851"/>
            <a:ext cx="464275" cy="29951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Oct</a:t>
            </a:r>
          </a:p>
        </p:txBody>
      </p:sp>
      <p:sp>
        <p:nvSpPr>
          <p:cNvPr id="134" name="Rectangle 35">
            <a:extLst>
              <a:ext uri="{FF2B5EF4-FFF2-40B4-BE49-F238E27FC236}">
                <a16:creationId xmlns:a16="http://schemas.microsoft.com/office/drawing/2014/main" id="{2230B6C2-AE0B-EB63-7BD3-482AE7AAF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2829" y="1471851"/>
            <a:ext cx="464275" cy="29790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Nov</a:t>
            </a:r>
          </a:p>
        </p:txBody>
      </p:sp>
      <p:sp>
        <p:nvSpPr>
          <p:cNvPr id="135" name="Rectangle 35">
            <a:extLst>
              <a:ext uri="{FF2B5EF4-FFF2-40B4-BE49-F238E27FC236}">
                <a16:creationId xmlns:a16="http://schemas.microsoft.com/office/drawing/2014/main" id="{CB8E9FE1-2B86-20BD-083D-56DF5734AB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6142" y="1471851"/>
            <a:ext cx="464275" cy="29790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Dec</a:t>
            </a:r>
          </a:p>
        </p:txBody>
      </p:sp>
      <p:sp>
        <p:nvSpPr>
          <p:cNvPr id="136" name="Rectangle 35">
            <a:extLst>
              <a:ext uri="{FF2B5EF4-FFF2-40B4-BE49-F238E27FC236}">
                <a16:creationId xmlns:a16="http://schemas.microsoft.com/office/drawing/2014/main" id="{958EA067-8089-8C5B-C5D4-F22AAA4A6F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9455" y="1471851"/>
            <a:ext cx="464275" cy="301029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Jan</a:t>
            </a:r>
          </a:p>
        </p:txBody>
      </p:sp>
      <p:sp>
        <p:nvSpPr>
          <p:cNvPr id="137" name="TextBox 256">
            <a:extLst>
              <a:ext uri="{FF2B5EF4-FFF2-40B4-BE49-F238E27FC236}">
                <a16:creationId xmlns:a16="http://schemas.microsoft.com/office/drawing/2014/main" id="{19C2525B-A846-C089-22A3-FE6CE7F9AE30}"/>
              </a:ext>
            </a:extLst>
          </p:cNvPr>
          <p:cNvSpPr txBox="1"/>
          <p:nvPr/>
        </p:nvSpPr>
        <p:spPr>
          <a:xfrm>
            <a:off x="1842394" y="1769926"/>
            <a:ext cx="647356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Project Start</a:t>
            </a:r>
          </a:p>
        </p:txBody>
      </p:sp>
      <p:sp>
        <p:nvSpPr>
          <p:cNvPr id="138" name="Line 19">
            <a:extLst>
              <a:ext uri="{FF2B5EF4-FFF2-40B4-BE49-F238E27FC236}">
                <a16:creationId xmlns:a16="http://schemas.microsoft.com/office/drawing/2014/main" id="{6284CA4B-A82A-663F-4B35-93C2B7AAB482}"/>
              </a:ext>
            </a:extLst>
          </p:cNvPr>
          <p:cNvSpPr>
            <a:spLocks noChangeShapeType="1"/>
          </p:cNvSpPr>
          <p:nvPr/>
        </p:nvSpPr>
        <p:spPr bwMode="auto">
          <a:xfrm>
            <a:off x="9000780" y="2059557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cxnSp>
        <p:nvCxnSpPr>
          <p:cNvPr id="139" name="Straight Arrow Connector 138">
            <a:extLst>
              <a:ext uri="{FF2B5EF4-FFF2-40B4-BE49-F238E27FC236}">
                <a16:creationId xmlns:a16="http://schemas.microsoft.com/office/drawing/2014/main" id="{DF92E77D-AA44-1EBB-867F-E311294F2081}"/>
              </a:ext>
            </a:extLst>
          </p:cNvPr>
          <p:cNvCxnSpPr>
            <a:cxnSpLocks/>
          </p:cNvCxnSpPr>
          <p:nvPr/>
        </p:nvCxnSpPr>
        <p:spPr bwMode="auto">
          <a:xfrm flipV="1">
            <a:off x="344799" y="6167398"/>
            <a:ext cx="8640047" cy="35887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0" name="TextBox 139">
            <a:extLst>
              <a:ext uri="{FF2B5EF4-FFF2-40B4-BE49-F238E27FC236}">
                <a16:creationId xmlns:a16="http://schemas.microsoft.com/office/drawing/2014/main" id="{B737E9B8-976C-53BF-0412-50DB53FDF137}"/>
              </a:ext>
            </a:extLst>
          </p:cNvPr>
          <p:cNvSpPr txBox="1"/>
          <p:nvPr/>
        </p:nvSpPr>
        <p:spPr>
          <a:xfrm>
            <a:off x="523435" y="6191527"/>
            <a:ext cx="60982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Change Mgt.</a:t>
            </a:r>
          </a:p>
        </p:txBody>
      </p:sp>
      <p:cxnSp>
        <p:nvCxnSpPr>
          <p:cNvPr id="142" name="Straight Arrow Connector 141">
            <a:extLst>
              <a:ext uri="{FF2B5EF4-FFF2-40B4-BE49-F238E27FC236}">
                <a16:creationId xmlns:a16="http://schemas.microsoft.com/office/drawing/2014/main" id="{3C533688-4697-FDA0-850D-74083896A196}"/>
              </a:ext>
            </a:extLst>
          </p:cNvPr>
          <p:cNvCxnSpPr>
            <a:cxnSpLocks/>
          </p:cNvCxnSpPr>
          <p:nvPr/>
        </p:nvCxnSpPr>
        <p:spPr bwMode="auto">
          <a:xfrm flipV="1">
            <a:off x="344799" y="5894811"/>
            <a:ext cx="8663685" cy="3225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3" name="Rechteck 107">
            <a:extLst>
              <a:ext uri="{FF2B5EF4-FFF2-40B4-BE49-F238E27FC236}">
                <a16:creationId xmlns:a16="http://schemas.microsoft.com/office/drawing/2014/main" id="{D16E8742-B537-31FB-4BD8-70440E58DFED}"/>
              </a:ext>
            </a:extLst>
          </p:cNvPr>
          <p:cNvSpPr/>
          <p:nvPr/>
        </p:nvSpPr>
        <p:spPr bwMode="auto">
          <a:xfrm>
            <a:off x="2495937" y="5552633"/>
            <a:ext cx="935776" cy="164592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Single  Role Build</a:t>
            </a:r>
          </a:p>
        </p:txBody>
      </p:sp>
      <p:sp>
        <p:nvSpPr>
          <p:cNvPr id="144" name="Rechteck 107">
            <a:extLst>
              <a:ext uri="{FF2B5EF4-FFF2-40B4-BE49-F238E27FC236}">
                <a16:creationId xmlns:a16="http://schemas.microsoft.com/office/drawing/2014/main" id="{89DE3DF2-AC2E-59DE-6AF3-9780ACDD6C8E}"/>
              </a:ext>
            </a:extLst>
          </p:cNvPr>
          <p:cNvSpPr/>
          <p:nvPr/>
        </p:nvSpPr>
        <p:spPr bwMode="auto">
          <a:xfrm>
            <a:off x="2508740" y="5735316"/>
            <a:ext cx="1170709" cy="16285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Job/Composite Role Design</a:t>
            </a:r>
          </a:p>
        </p:txBody>
      </p:sp>
      <p:sp>
        <p:nvSpPr>
          <p:cNvPr id="145" name="Rechteck 107">
            <a:extLst>
              <a:ext uri="{FF2B5EF4-FFF2-40B4-BE49-F238E27FC236}">
                <a16:creationId xmlns:a16="http://schemas.microsoft.com/office/drawing/2014/main" id="{A46A904D-7054-5A9A-56C3-57512A2DF431}"/>
              </a:ext>
            </a:extLst>
          </p:cNvPr>
          <p:cNvSpPr/>
          <p:nvPr/>
        </p:nvSpPr>
        <p:spPr bwMode="auto">
          <a:xfrm>
            <a:off x="3680184" y="5734677"/>
            <a:ext cx="922349" cy="163435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Job/Comp</a:t>
            </a:r>
            <a:r>
              <a:rPr lang="en-US" altLang="en-US">
                <a:solidFill>
                  <a:srgbClr val="FFFFFF"/>
                </a:solidFill>
                <a:latin typeface="LindeDaxPowerPoint"/>
              </a:rPr>
              <a:t>.</a:t>
            </a:r>
            <a:r>
              <a:rPr kumimoji="0" lang="en-US" alt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 Role Build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6BC4761E-680E-CE6A-FA40-C40EEE9606D1}"/>
              </a:ext>
            </a:extLst>
          </p:cNvPr>
          <p:cNvSpPr txBox="1"/>
          <p:nvPr/>
        </p:nvSpPr>
        <p:spPr>
          <a:xfrm>
            <a:off x="453718" y="5577429"/>
            <a:ext cx="73788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SAP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Authorization</a:t>
            </a:r>
          </a:p>
        </p:txBody>
      </p:sp>
      <p:sp>
        <p:nvSpPr>
          <p:cNvPr id="148" name="Rechteck 107">
            <a:extLst>
              <a:ext uri="{FF2B5EF4-FFF2-40B4-BE49-F238E27FC236}">
                <a16:creationId xmlns:a16="http://schemas.microsoft.com/office/drawing/2014/main" id="{6049E892-642D-565D-5F52-64B4CBF01998}"/>
              </a:ext>
            </a:extLst>
          </p:cNvPr>
          <p:cNvSpPr/>
          <p:nvPr/>
        </p:nvSpPr>
        <p:spPr bwMode="auto">
          <a:xfrm>
            <a:off x="2482798" y="4870671"/>
            <a:ext cx="2116637" cy="12929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BW Queries &amp; S4 HANA Gap analysis &amp; build</a:t>
            </a:r>
          </a:p>
        </p:txBody>
      </p:sp>
      <p:sp>
        <p:nvSpPr>
          <p:cNvPr id="149" name="Rechteck 107">
            <a:extLst>
              <a:ext uri="{FF2B5EF4-FFF2-40B4-BE49-F238E27FC236}">
                <a16:creationId xmlns:a16="http://schemas.microsoft.com/office/drawing/2014/main" id="{81C417E0-048C-BDDC-7E98-8E3D5A5B998D}"/>
              </a:ext>
            </a:extLst>
          </p:cNvPr>
          <p:cNvSpPr/>
          <p:nvPr/>
        </p:nvSpPr>
        <p:spPr bwMode="auto">
          <a:xfrm>
            <a:off x="2482798" y="5050165"/>
            <a:ext cx="2116638" cy="12929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Local extractor analysis &amp; build</a:t>
            </a:r>
          </a:p>
        </p:txBody>
      </p:sp>
      <p:sp>
        <p:nvSpPr>
          <p:cNvPr id="168" name="Rechteck 107">
            <a:extLst>
              <a:ext uri="{FF2B5EF4-FFF2-40B4-BE49-F238E27FC236}">
                <a16:creationId xmlns:a16="http://schemas.microsoft.com/office/drawing/2014/main" id="{AE4B2E4C-41C3-67F9-064B-8A2C3DB5C755}"/>
              </a:ext>
            </a:extLst>
          </p:cNvPr>
          <p:cNvSpPr/>
          <p:nvPr/>
        </p:nvSpPr>
        <p:spPr bwMode="auto">
          <a:xfrm>
            <a:off x="8256371" y="1927932"/>
            <a:ext cx="752114" cy="194756"/>
          </a:xfrm>
          <a:prstGeom prst="rect">
            <a:avLst/>
          </a:prstGeom>
          <a:solidFill>
            <a:srgbClr val="DC78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Hypercare</a:t>
            </a:r>
          </a:p>
        </p:txBody>
      </p:sp>
      <p:sp>
        <p:nvSpPr>
          <p:cNvPr id="169" name="TextBox 256">
            <a:extLst>
              <a:ext uri="{FF2B5EF4-FFF2-40B4-BE49-F238E27FC236}">
                <a16:creationId xmlns:a16="http://schemas.microsoft.com/office/drawing/2014/main" id="{21E966E0-5FBA-9A57-937D-E658C89D24CA}"/>
              </a:ext>
            </a:extLst>
          </p:cNvPr>
          <p:cNvSpPr txBox="1"/>
          <p:nvPr/>
        </p:nvSpPr>
        <p:spPr>
          <a:xfrm>
            <a:off x="8250227" y="1772415"/>
            <a:ext cx="483162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Go Live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170" name="Rechteck 107">
            <a:extLst>
              <a:ext uri="{FF2B5EF4-FFF2-40B4-BE49-F238E27FC236}">
                <a16:creationId xmlns:a16="http://schemas.microsoft.com/office/drawing/2014/main" id="{297210C9-BCB4-D3F4-428A-B0284F997608}"/>
              </a:ext>
            </a:extLst>
          </p:cNvPr>
          <p:cNvSpPr/>
          <p:nvPr/>
        </p:nvSpPr>
        <p:spPr bwMode="auto">
          <a:xfrm>
            <a:off x="1098235" y="5973406"/>
            <a:ext cx="7212123" cy="165132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50" dirty="0">
                <a:solidFill>
                  <a:srgbClr val="FFFFFF"/>
                </a:solidFill>
              </a:rPr>
              <a:t>Dual Maintenance</a:t>
            </a:r>
          </a:p>
        </p:txBody>
      </p:sp>
      <p:sp>
        <p:nvSpPr>
          <p:cNvPr id="171" name="Rechteck 107">
            <a:extLst>
              <a:ext uri="{FF2B5EF4-FFF2-40B4-BE49-F238E27FC236}">
                <a16:creationId xmlns:a16="http://schemas.microsoft.com/office/drawing/2014/main" id="{629DB31B-594F-A183-F483-DE588C629415}"/>
              </a:ext>
            </a:extLst>
          </p:cNvPr>
          <p:cNvSpPr/>
          <p:nvPr/>
        </p:nvSpPr>
        <p:spPr bwMode="auto">
          <a:xfrm>
            <a:off x="7191503" y="6235052"/>
            <a:ext cx="267895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Prep</a:t>
            </a:r>
          </a:p>
        </p:txBody>
      </p:sp>
      <p:sp>
        <p:nvSpPr>
          <p:cNvPr id="172" name="Rechteck 107">
            <a:extLst>
              <a:ext uri="{FF2B5EF4-FFF2-40B4-BE49-F238E27FC236}">
                <a16:creationId xmlns:a16="http://schemas.microsoft.com/office/drawing/2014/main" id="{807E26E3-48DF-43C2-4E49-0130B6B8F3E4}"/>
              </a:ext>
            </a:extLst>
          </p:cNvPr>
          <p:cNvSpPr/>
          <p:nvPr/>
        </p:nvSpPr>
        <p:spPr bwMode="auto">
          <a:xfrm>
            <a:off x="5274228" y="6235052"/>
            <a:ext cx="930625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Train-the-Trainer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DAE30D84-73A2-803F-7BD5-A0D3F0DE7405}"/>
              </a:ext>
            </a:extLst>
          </p:cNvPr>
          <p:cNvSpPr txBox="1"/>
          <p:nvPr/>
        </p:nvSpPr>
        <p:spPr>
          <a:xfrm>
            <a:off x="462207" y="5224259"/>
            <a:ext cx="723478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Related Projects</a:t>
            </a:r>
          </a:p>
        </p:txBody>
      </p:sp>
      <p:cxnSp>
        <p:nvCxnSpPr>
          <p:cNvPr id="175" name="Straight Arrow Connector 174">
            <a:extLst>
              <a:ext uri="{FF2B5EF4-FFF2-40B4-BE49-F238E27FC236}">
                <a16:creationId xmlns:a16="http://schemas.microsoft.com/office/drawing/2014/main" id="{4A39465E-68E4-A8CC-BF8B-12A3EF2C96DC}"/>
              </a:ext>
            </a:extLst>
          </p:cNvPr>
          <p:cNvCxnSpPr>
            <a:cxnSpLocks/>
          </p:cNvCxnSpPr>
          <p:nvPr/>
        </p:nvCxnSpPr>
        <p:spPr bwMode="auto">
          <a:xfrm flipV="1">
            <a:off x="344799" y="3741422"/>
            <a:ext cx="8663685" cy="20193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6" name="Rectangle 49">
            <a:extLst>
              <a:ext uri="{FF2B5EF4-FFF2-40B4-BE49-F238E27FC236}">
                <a16:creationId xmlns:a16="http://schemas.microsoft.com/office/drawing/2014/main" id="{7E5FA359-F465-396A-157D-42D1043C44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1563" y="2186653"/>
            <a:ext cx="280642" cy="4289018"/>
          </a:xfrm>
          <a:prstGeom prst="rect">
            <a:avLst/>
          </a:prstGeom>
          <a:solidFill>
            <a:srgbClr val="D1B48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Project</a:t>
            </a:r>
          </a:p>
        </p:txBody>
      </p:sp>
      <p:sp>
        <p:nvSpPr>
          <p:cNvPr id="177" name="Rechteck 107">
            <a:extLst>
              <a:ext uri="{FF2B5EF4-FFF2-40B4-BE49-F238E27FC236}">
                <a16:creationId xmlns:a16="http://schemas.microsoft.com/office/drawing/2014/main" id="{8B276015-6856-6FC9-41ED-F8BB42BE14B2}"/>
              </a:ext>
            </a:extLst>
          </p:cNvPr>
          <p:cNvSpPr/>
          <p:nvPr/>
        </p:nvSpPr>
        <p:spPr bwMode="auto">
          <a:xfrm>
            <a:off x="2484707" y="2122134"/>
            <a:ext cx="1703165" cy="96846"/>
          </a:xfrm>
          <a:prstGeom prst="rect">
            <a:avLst/>
          </a:prstGeom>
          <a:solidFill>
            <a:srgbClr val="D1B48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10" tIns="4" rIns="10" bIns="4" anchor="ctr"/>
          <a:lstStyle/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 Soft Freeze</a:t>
            </a:r>
          </a:p>
        </p:txBody>
      </p:sp>
      <p:sp>
        <p:nvSpPr>
          <p:cNvPr id="183" name="Star: 5 Points 220">
            <a:extLst>
              <a:ext uri="{FF2B5EF4-FFF2-40B4-BE49-F238E27FC236}">
                <a16:creationId xmlns:a16="http://schemas.microsoft.com/office/drawing/2014/main" id="{28DAEE96-6F82-F0E1-6B11-B8CECA50F5B4}"/>
              </a:ext>
            </a:extLst>
          </p:cNvPr>
          <p:cNvSpPr>
            <a:spLocks noChangeAspect="1"/>
          </p:cNvSpPr>
          <p:nvPr/>
        </p:nvSpPr>
        <p:spPr bwMode="auto">
          <a:xfrm>
            <a:off x="2411319" y="1772424"/>
            <a:ext cx="161393" cy="164617"/>
          </a:xfrm>
          <a:prstGeom prst="star5">
            <a:avLst/>
          </a:prstGeom>
          <a:solidFill>
            <a:srgbClr val="FFC0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lvl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187" name="Line 19">
            <a:extLst>
              <a:ext uri="{FF2B5EF4-FFF2-40B4-BE49-F238E27FC236}">
                <a16:creationId xmlns:a16="http://schemas.microsoft.com/office/drawing/2014/main" id="{1A54A6D5-0B0D-8877-60F8-35FB32809394}"/>
              </a:ext>
            </a:extLst>
          </p:cNvPr>
          <p:cNvSpPr>
            <a:spLocks noChangeShapeType="1"/>
          </p:cNvSpPr>
          <p:nvPr/>
        </p:nvSpPr>
        <p:spPr bwMode="auto">
          <a:xfrm>
            <a:off x="7132054" y="2059557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188" name="Rechteck 107">
            <a:extLst>
              <a:ext uri="{FF2B5EF4-FFF2-40B4-BE49-F238E27FC236}">
                <a16:creationId xmlns:a16="http://schemas.microsoft.com/office/drawing/2014/main" id="{0E2E3314-6284-EF0D-0753-5C3DFBFA7F06}"/>
              </a:ext>
            </a:extLst>
          </p:cNvPr>
          <p:cNvSpPr/>
          <p:nvPr/>
        </p:nvSpPr>
        <p:spPr bwMode="auto">
          <a:xfrm>
            <a:off x="1114298" y="3280040"/>
            <a:ext cx="1374782" cy="137316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Project Management (Financial, Gov)</a:t>
            </a:r>
          </a:p>
        </p:txBody>
      </p:sp>
      <p:sp>
        <p:nvSpPr>
          <p:cNvPr id="192" name="Rechteck 107">
            <a:extLst>
              <a:ext uri="{FF2B5EF4-FFF2-40B4-BE49-F238E27FC236}">
                <a16:creationId xmlns:a16="http://schemas.microsoft.com/office/drawing/2014/main" id="{783710B3-9CA6-9E2B-14F3-337E5F4B20D8}"/>
              </a:ext>
            </a:extLst>
          </p:cNvPr>
          <p:cNvSpPr/>
          <p:nvPr/>
        </p:nvSpPr>
        <p:spPr bwMode="auto">
          <a:xfrm>
            <a:off x="1558093" y="4763999"/>
            <a:ext cx="926103" cy="137316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Analysis</a:t>
            </a:r>
          </a:p>
        </p:txBody>
      </p:sp>
      <p:sp>
        <p:nvSpPr>
          <p:cNvPr id="199" name="Rechteck 107">
            <a:extLst>
              <a:ext uri="{FF2B5EF4-FFF2-40B4-BE49-F238E27FC236}">
                <a16:creationId xmlns:a16="http://schemas.microsoft.com/office/drawing/2014/main" id="{8ECF5C02-C47D-33E5-4979-81A71627E953}"/>
              </a:ext>
            </a:extLst>
          </p:cNvPr>
          <p:cNvSpPr/>
          <p:nvPr/>
        </p:nvSpPr>
        <p:spPr bwMode="auto">
          <a:xfrm>
            <a:off x="7459398" y="6235052"/>
            <a:ext cx="593246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EU Training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8AD0904C-DC6D-1C66-9AE8-5D6F207DC82E}"/>
              </a:ext>
            </a:extLst>
          </p:cNvPr>
          <p:cNvSpPr txBox="1"/>
          <p:nvPr/>
        </p:nvSpPr>
        <p:spPr>
          <a:xfrm>
            <a:off x="6543392" y="6436704"/>
            <a:ext cx="69923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zh-CN" sz="6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Vacation period</a:t>
            </a:r>
            <a:endParaRPr kumimoji="0" lang="en-US" sz="6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201" name="Rectangle 35">
            <a:extLst>
              <a:ext uri="{FF2B5EF4-FFF2-40B4-BE49-F238E27FC236}">
                <a16:creationId xmlns:a16="http://schemas.microsoft.com/office/drawing/2014/main" id="{4AD43380-9F91-CCF7-78AD-98BD2462DC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93945" y="1471851"/>
            <a:ext cx="464275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Feb</a:t>
            </a:r>
          </a:p>
        </p:txBody>
      </p:sp>
      <p:sp>
        <p:nvSpPr>
          <p:cNvPr id="202" name="Rectangle 35">
            <a:extLst>
              <a:ext uri="{FF2B5EF4-FFF2-40B4-BE49-F238E27FC236}">
                <a16:creationId xmlns:a16="http://schemas.microsoft.com/office/drawing/2014/main" id="{E64EBC15-C7E6-5BC7-823F-232979624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7258" y="1471851"/>
            <a:ext cx="464275" cy="29951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March</a:t>
            </a:r>
          </a:p>
        </p:txBody>
      </p:sp>
      <p:sp>
        <p:nvSpPr>
          <p:cNvPr id="203" name="Rectangle 35">
            <a:extLst>
              <a:ext uri="{FF2B5EF4-FFF2-40B4-BE49-F238E27FC236}">
                <a16:creationId xmlns:a16="http://schemas.microsoft.com/office/drawing/2014/main" id="{ADCD91B7-F659-66E6-080C-E1F0B61D96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20571" y="1471851"/>
            <a:ext cx="464275" cy="29790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April</a:t>
            </a:r>
          </a:p>
        </p:txBody>
      </p:sp>
      <p:sp>
        <p:nvSpPr>
          <p:cNvPr id="204" name="Rechteck 107">
            <a:extLst>
              <a:ext uri="{FF2B5EF4-FFF2-40B4-BE49-F238E27FC236}">
                <a16:creationId xmlns:a16="http://schemas.microsoft.com/office/drawing/2014/main" id="{C5E3C7A2-D80F-4031-ACCA-0EC55EAD8D4F}"/>
              </a:ext>
            </a:extLst>
          </p:cNvPr>
          <p:cNvSpPr/>
          <p:nvPr/>
        </p:nvSpPr>
        <p:spPr bwMode="auto">
          <a:xfrm>
            <a:off x="7416660" y="1927932"/>
            <a:ext cx="846474" cy="203878"/>
          </a:xfrm>
          <a:prstGeom prst="rect">
            <a:avLst/>
          </a:prstGeom>
          <a:solidFill>
            <a:srgbClr val="DC78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Cut Over</a:t>
            </a:r>
          </a:p>
        </p:txBody>
      </p:sp>
      <p:sp>
        <p:nvSpPr>
          <p:cNvPr id="208" name="Rectangle 15">
            <a:extLst>
              <a:ext uri="{FF2B5EF4-FFF2-40B4-BE49-F238E27FC236}">
                <a16:creationId xmlns:a16="http://schemas.microsoft.com/office/drawing/2014/main" id="{F743D2F4-E872-50E3-B912-314E4EACB7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303" y="1272314"/>
            <a:ext cx="5578937" cy="199537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2025</a:t>
            </a:r>
          </a:p>
        </p:txBody>
      </p:sp>
      <p:sp>
        <p:nvSpPr>
          <p:cNvPr id="210" name="Rectangle 15">
            <a:extLst>
              <a:ext uri="{FF2B5EF4-FFF2-40B4-BE49-F238E27FC236}">
                <a16:creationId xmlns:a16="http://schemas.microsoft.com/office/drawing/2014/main" id="{BDF0DE61-4FFD-AD43-39A2-BF0BB9C34D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9455" y="1270743"/>
            <a:ext cx="1851561" cy="199537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2026</a:t>
            </a:r>
          </a:p>
        </p:txBody>
      </p:sp>
      <p:sp>
        <p:nvSpPr>
          <p:cNvPr id="211" name="Rechteck 107">
            <a:extLst>
              <a:ext uri="{FF2B5EF4-FFF2-40B4-BE49-F238E27FC236}">
                <a16:creationId xmlns:a16="http://schemas.microsoft.com/office/drawing/2014/main" id="{0A1859FA-BD85-A432-9D33-CCCED2498861}"/>
              </a:ext>
            </a:extLst>
          </p:cNvPr>
          <p:cNvSpPr/>
          <p:nvPr/>
        </p:nvSpPr>
        <p:spPr bwMode="auto">
          <a:xfrm>
            <a:off x="4618757" y="1927932"/>
            <a:ext cx="2797901" cy="197433"/>
          </a:xfrm>
          <a:prstGeom prst="rect">
            <a:avLst/>
          </a:prstGeom>
          <a:solidFill>
            <a:srgbClr val="DC78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 Testing</a:t>
            </a:r>
          </a:p>
        </p:txBody>
      </p:sp>
      <p:sp>
        <p:nvSpPr>
          <p:cNvPr id="213" name="Star: 5 Points 220">
            <a:extLst>
              <a:ext uri="{FF2B5EF4-FFF2-40B4-BE49-F238E27FC236}">
                <a16:creationId xmlns:a16="http://schemas.microsoft.com/office/drawing/2014/main" id="{21F3880E-B77D-C4E3-DA42-62601DA7ED96}"/>
              </a:ext>
            </a:extLst>
          </p:cNvPr>
          <p:cNvSpPr>
            <a:spLocks noChangeAspect="1"/>
          </p:cNvSpPr>
          <p:nvPr/>
        </p:nvSpPr>
        <p:spPr bwMode="auto">
          <a:xfrm>
            <a:off x="8181920" y="1759319"/>
            <a:ext cx="161393" cy="164617"/>
          </a:xfrm>
          <a:prstGeom prst="star5">
            <a:avLst/>
          </a:prstGeom>
          <a:solidFill>
            <a:srgbClr val="FFC0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lvl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215" name="Rechteck 107">
            <a:extLst>
              <a:ext uri="{FF2B5EF4-FFF2-40B4-BE49-F238E27FC236}">
                <a16:creationId xmlns:a16="http://schemas.microsoft.com/office/drawing/2014/main" id="{50079D6B-A9C5-2157-1163-51C1D1366150}"/>
              </a:ext>
            </a:extLst>
          </p:cNvPr>
          <p:cNvSpPr/>
          <p:nvPr/>
        </p:nvSpPr>
        <p:spPr bwMode="auto">
          <a:xfrm>
            <a:off x="4182958" y="2122134"/>
            <a:ext cx="4080176" cy="96846"/>
          </a:xfrm>
          <a:prstGeom prst="rect">
            <a:avLst/>
          </a:prstGeom>
          <a:solidFill>
            <a:srgbClr val="D1B48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10" tIns="4" rIns="10" bIns="4" anchor="ctr"/>
          <a:lstStyle/>
          <a:p>
            <a:pPr marL="0" marR="0" lvl="0" indent="0" algn="ctr" defTabSz="8397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+mn-ea"/>
                <a:cs typeface="Arial" charset="0"/>
              </a:rPr>
              <a:t> Change Freeze</a:t>
            </a:r>
          </a:p>
        </p:txBody>
      </p:sp>
      <p:sp>
        <p:nvSpPr>
          <p:cNvPr id="229" name="Rechteck 107">
            <a:extLst>
              <a:ext uri="{FF2B5EF4-FFF2-40B4-BE49-F238E27FC236}">
                <a16:creationId xmlns:a16="http://schemas.microsoft.com/office/drawing/2014/main" id="{675B2995-A7E5-5628-04EF-EFEECFBB7E68}"/>
              </a:ext>
            </a:extLst>
          </p:cNvPr>
          <p:cNvSpPr/>
          <p:nvPr/>
        </p:nvSpPr>
        <p:spPr bwMode="auto">
          <a:xfrm>
            <a:off x="5280300" y="5536428"/>
            <a:ext cx="1263089" cy="164592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en-US" sz="900" dirty="0">
                <a:solidFill>
                  <a:srgbClr val="FFFFFF"/>
                </a:solidFill>
              </a:rPr>
              <a:t>Mapping EU</a:t>
            </a:r>
          </a:p>
        </p:txBody>
      </p:sp>
      <p:sp>
        <p:nvSpPr>
          <p:cNvPr id="230" name="Rechteck 107">
            <a:extLst>
              <a:ext uri="{FF2B5EF4-FFF2-40B4-BE49-F238E27FC236}">
                <a16:creationId xmlns:a16="http://schemas.microsoft.com/office/drawing/2014/main" id="{8BCDFB52-FC1E-1081-BC6B-4156102DD7DE}"/>
              </a:ext>
            </a:extLst>
          </p:cNvPr>
          <p:cNvSpPr/>
          <p:nvPr/>
        </p:nvSpPr>
        <p:spPr bwMode="auto">
          <a:xfrm>
            <a:off x="6673170" y="5707751"/>
            <a:ext cx="843524" cy="164592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en-US" sz="900" dirty="0">
                <a:solidFill>
                  <a:srgbClr val="FFFFFF"/>
                </a:solidFill>
              </a:rPr>
              <a:t>EU Simulation</a:t>
            </a:r>
          </a:p>
        </p:txBody>
      </p:sp>
      <p:sp>
        <p:nvSpPr>
          <p:cNvPr id="231" name="Rechteck 107">
            <a:extLst>
              <a:ext uri="{FF2B5EF4-FFF2-40B4-BE49-F238E27FC236}">
                <a16:creationId xmlns:a16="http://schemas.microsoft.com/office/drawing/2014/main" id="{AEF90CA0-28BE-4699-ABF2-6A6C8591F1A3}"/>
              </a:ext>
            </a:extLst>
          </p:cNvPr>
          <p:cNvSpPr/>
          <p:nvPr/>
        </p:nvSpPr>
        <p:spPr bwMode="auto">
          <a:xfrm>
            <a:off x="1114299" y="5560945"/>
            <a:ext cx="1379000" cy="146961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Single Role Design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3C2AE85D-0CF4-9104-466D-169BC728F80A}"/>
              </a:ext>
            </a:extLst>
          </p:cNvPr>
          <p:cNvSpPr txBox="1"/>
          <p:nvPr/>
        </p:nvSpPr>
        <p:spPr>
          <a:xfrm>
            <a:off x="9396114" y="1470280"/>
            <a:ext cx="2611629" cy="1258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/>
              <a:t>Test Phases – Red Boxes</a:t>
            </a:r>
          </a:p>
          <a:p>
            <a:endParaRPr lang="en-GB" sz="1400" b="1" dirty="0"/>
          </a:p>
          <a:p>
            <a:r>
              <a:rPr lang="en-GB" sz="1400" b="1" dirty="0"/>
              <a:t>Data Migration – Yellow Boxes</a:t>
            </a:r>
          </a:p>
          <a:p>
            <a:endParaRPr lang="en-GB" sz="1400" b="1" dirty="0"/>
          </a:p>
          <a:p>
            <a:r>
              <a:rPr lang="en-GB" sz="1400" b="1" dirty="0"/>
              <a:t>System Preparation – Green</a:t>
            </a:r>
            <a:endParaRPr lang="en-GB" sz="1400" dirty="0"/>
          </a:p>
        </p:txBody>
      </p:sp>
      <p:sp>
        <p:nvSpPr>
          <p:cNvPr id="104" name="Rechteck 107">
            <a:extLst>
              <a:ext uri="{FF2B5EF4-FFF2-40B4-BE49-F238E27FC236}">
                <a16:creationId xmlns:a16="http://schemas.microsoft.com/office/drawing/2014/main" id="{22DB95EF-FFF4-F3F7-D22B-A6DD027B7D5C}"/>
              </a:ext>
            </a:extLst>
          </p:cNvPr>
          <p:cNvSpPr/>
          <p:nvPr/>
        </p:nvSpPr>
        <p:spPr bwMode="auto">
          <a:xfrm>
            <a:off x="2491701" y="3186191"/>
            <a:ext cx="1851191" cy="158946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Test Automation 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Build</a:t>
            </a:r>
          </a:p>
        </p:txBody>
      </p:sp>
      <p:sp>
        <p:nvSpPr>
          <p:cNvPr id="111" name="Rechteck 107">
            <a:extLst>
              <a:ext uri="{FF2B5EF4-FFF2-40B4-BE49-F238E27FC236}">
                <a16:creationId xmlns:a16="http://schemas.microsoft.com/office/drawing/2014/main" id="{A2977377-0C25-9495-8511-228A5EE9806C}"/>
              </a:ext>
            </a:extLst>
          </p:cNvPr>
          <p:cNvSpPr/>
          <p:nvPr/>
        </p:nvSpPr>
        <p:spPr bwMode="auto">
          <a:xfrm>
            <a:off x="2491701" y="2960970"/>
            <a:ext cx="1044980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Create Test Strategy &amp; Plan</a:t>
            </a:r>
          </a:p>
        </p:txBody>
      </p:sp>
      <p:sp>
        <p:nvSpPr>
          <p:cNvPr id="118" name="Rechteck 107">
            <a:extLst>
              <a:ext uri="{FF2B5EF4-FFF2-40B4-BE49-F238E27FC236}">
                <a16:creationId xmlns:a16="http://schemas.microsoft.com/office/drawing/2014/main" id="{EB970A5A-EBAE-3F2D-3A93-8F2D9E216444}"/>
              </a:ext>
            </a:extLst>
          </p:cNvPr>
          <p:cNvSpPr/>
          <p:nvPr/>
        </p:nvSpPr>
        <p:spPr bwMode="auto">
          <a:xfrm>
            <a:off x="1553338" y="4013353"/>
            <a:ext cx="929607" cy="18276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Onboarding &amp; Plan</a:t>
            </a:r>
          </a:p>
        </p:txBody>
      </p:sp>
      <p:sp>
        <p:nvSpPr>
          <p:cNvPr id="122" name="TextBox 256">
            <a:extLst>
              <a:ext uri="{FF2B5EF4-FFF2-40B4-BE49-F238E27FC236}">
                <a16:creationId xmlns:a16="http://schemas.microsoft.com/office/drawing/2014/main" id="{FB40D14B-D577-250F-E5FC-652B654CA2B2}"/>
              </a:ext>
            </a:extLst>
          </p:cNvPr>
          <p:cNvSpPr txBox="1"/>
          <p:nvPr/>
        </p:nvSpPr>
        <p:spPr>
          <a:xfrm>
            <a:off x="2793514" y="2258275"/>
            <a:ext cx="99714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Archiving completed</a:t>
            </a:r>
          </a:p>
        </p:txBody>
      </p:sp>
      <p:sp>
        <p:nvSpPr>
          <p:cNvPr id="123" name="Star: 5 Points 220">
            <a:extLst>
              <a:ext uri="{FF2B5EF4-FFF2-40B4-BE49-F238E27FC236}">
                <a16:creationId xmlns:a16="http://schemas.microsoft.com/office/drawing/2014/main" id="{1E20F195-0EDD-48D2-8498-3C68CFD981BA}"/>
              </a:ext>
            </a:extLst>
          </p:cNvPr>
          <p:cNvSpPr>
            <a:spLocks noChangeAspect="1"/>
          </p:cNvSpPr>
          <p:nvPr/>
        </p:nvSpPr>
        <p:spPr bwMode="auto">
          <a:xfrm>
            <a:off x="2759550" y="2251568"/>
            <a:ext cx="161393" cy="164617"/>
          </a:xfrm>
          <a:prstGeom prst="star5">
            <a:avLst/>
          </a:prstGeom>
          <a:solidFill>
            <a:srgbClr val="FFC0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lvl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126" name="Rechteck 107">
            <a:extLst>
              <a:ext uri="{FF2B5EF4-FFF2-40B4-BE49-F238E27FC236}">
                <a16:creationId xmlns:a16="http://schemas.microsoft.com/office/drawing/2014/main" id="{8E9E6D69-0F42-A633-A630-37A5BE962074}"/>
              </a:ext>
            </a:extLst>
          </p:cNvPr>
          <p:cNvSpPr/>
          <p:nvPr/>
        </p:nvSpPr>
        <p:spPr bwMode="auto">
          <a:xfrm>
            <a:off x="2485687" y="3798904"/>
            <a:ext cx="527043" cy="18276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SDT MBP</a:t>
            </a:r>
          </a:p>
        </p:txBody>
      </p:sp>
      <p:sp>
        <p:nvSpPr>
          <p:cNvPr id="131" name="Rechteck 107">
            <a:extLst>
              <a:ext uri="{FF2B5EF4-FFF2-40B4-BE49-F238E27FC236}">
                <a16:creationId xmlns:a16="http://schemas.microsoft.com/office/drawing/2014/main" id="{A16DF211-2011-18D1-A6A5-558B13C0F77C}"/>
              </a:ext>
            </a:extLst>
          </p:cNvPr>
          <p:cNvSpPr/>
          <p:nvPr/>
        </p:nvSpPr>
        <p:spPr bwMode="auto">
          <a:xfrm>
            <a:off x="2491701" y="2749670"/>
            <a:ext cx="2107735" cy="161162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Build &amp; Config &amp; Unit Testing</a:t>
            </a:r>
          </a:p>
        </p:txBody>
      </p:sp>
      <p:sp>
        <p:nvSpPr>
          <p:cNvPr id="147" name="Rechteck 107">
            <a:extLst>
              <a:ext uri="{FF2B5EF4-FFF2-40B4-BE49-F238E27FC236}">
                <a16:creationId xmlns:a16="http://schemas.microsoft.com/office/drawing/2014/main" id="{384E26CB-1074-5D59-0228-9EE132E977D8}"/>
              </a:ext>
            </a:extLst>
          </p:cNvPr>
          <p:cNvSpPr/>
          <p:nvPr/>
        </p:nvSpPr>
        <p:spPr bwMode="auto">
          <a:xfrm>
            <a:off x="1698896" y="4326220"/>
            <a:ext cx="1243548" cy="130914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TM0, SRC1</a:t>
            </a:r>
          </a:p>
        </p:txBody>
      </p:sp>
      <p:sp>
        <p:nvSpPr>
          <p:cNvPr id="150" name="Rechteck 107">
            <a:extLst>
              <a:ext uri="{FF2B5EF4-FFF2-40B4-BE49-F238E27FC236}">
                <a16:creationId xmlns:a16="http://schemas.microsoft.com/office/drawing/2014/main" id="{97FB52BD-CD4F-8F49-E808-78A01FE38FB3}"/>
              </a:ext>
            </a:extLst>
          </p:cNvPr>
          <p:cNvSpPr/>
          <p:nvPr/>
        </p:nvSpPr>
        <p:spPr bwMode="auto">
          <a:xfrm>
            <a:off x="2482798" y="4691177"/>
            <a:ext cx="1394357" cy="12929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Dashboard analysis &amp; configure</a:t>
            </a:r>
          </a:p>
        </p:txBody>
      </p:sp>
      <p:sp>
        <p:nvSpPr>
          <p:cNvPr id="178" name="Rechteck 107">
            <a:extLst>
              <a:ext uri="{FF2B5EF4-FFF2-40B4-BE49-F238E27FC236}">
                <a16:creationId xmlns:a16="http://schemas.microsoft.com/office/drawing/2014/main" id="{7ABC9814-8CC3-1791-5C52-A039BECE8619}"/>
              </a:ext>
            </a:extLst>
          </p:cNvPr>
          <p:cNvSpPr/>
          <p:nvPr/>
        </p:nvSpPr>
        <p:spPr bwMode="auto">
          <a:xfrm>
            <a:off x="7476493" y="4484970"/>
            <a:ext cx="189018" cy="130914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DR</a:t>
            </a:r>
          </a:p>
        </p:txBody>
      </p:sp>
      <p:sp>
        <p:nvSpPr>
          <p:cNvPr id="189" name="Rechteck 107">
            <a:extLst>
              <a:ext uri="{FF2B5EF4-FFF2-40B4-BE49-F238E27FC236}">
                <a16:creationId xmlns:a16="http://schemas.microsoft.com/office/drawing/2014/main" id="{AFFF9BA2-3470-E59D-F97D-830ED7EB01C9}"/>
              </a:ext>
            </a:extLst>
          </p:cNvPr>
          <p:cNvSpPr/>
          <p:nvPr/>
        </p:nvSpPr>
        <p:spPr bwMode="auto">
          <a:xfrm>
            <a:off x="1557130" y="2868473"/>
            <a:ext cx="927380" cy="137316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Interface Planning</a:t>
            </a:r>
          </a:p>
        </p:txBody>
      </p:sp>
      <p:sp>
        <p:nvSpPr>
          <p:cNvPr id="193" name="Star: 5 Points 220">
            <a:extLst>
              <a:ext uri="{FF2B5EF4-FFF2-40B4-BE49-F238E27FC236}">
                <a16:creationId xmlns:a16="http://schemas.microsoft.com/office/drawing/2014/main" id="{658ED7D3-06F7-0866-B541-CC67EFD87D8A}"/>
              </a:ext>
            </a:extLst>
          </p:cNvPr>
          <p:cNvSpPr>
            <a:spLocks noChangeAspect="1"/>
          </p:cNvSpPr>
          <p:nvPr/>
        </p:nvSpPr>
        <p:spPr bwMode="auto">
          <a:xfrm>
            <a:off x="2565436" y="3510273"/>
            <a:ext cx="161393" cy="164617"/>
          </a:xfrm>
          <a:prstGeom prst="star5">
            <a:avLst/>
          </a:prstGeom>
          <a:solidFill>
            <a:srgbClr val="FFC0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lvl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194" name="TextBox 256">
            <a:extLst>
              <a:ext uri="{FF2B5EF4-FFF2-40B4-BE49-F238E27FC236}">
                <a16:creationId xmlns:a16="http://schemas.microsoft.com/office/drawing/2014/main" id="{3C5C3B3F-CFEE-2F78-C3DB-E20F01A5BC19}"/>
              </a:ext>
            </a:extLst>
          </p:cNvPr>
          <p:cNvSpPr txBox="1"/>
          <p:nvPr/>
        </p:nvSpPr>
        <p:spPr>
          <a:xfrm>
            <a:off x="2173348" y="3512507"/>
            <a:ext cx="486368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Kick Off</a:t>
            </a:r>
          </a:p>
        </p:txBody>
      </p:sp>
      <p:cxnSp>
        <p:nvCxnSpPr>
          <p:cNvPr id="216" name="Connector: Elbow 215">
            <a:extLst>
              <a:ext uri="{FF2B5EF4-FFF2-40B4-BE49-F238E27FC236}">
                <a16:creationId xmlns:a16="http://schemas.microsoft.com/office/drawing/2014/main" id="{EEA9B8F0-0687-8D2F-3F1C-ED6EEC59B18C}"/>
              </a:ext>
            </a:extLst>
          </p:cNvPr>
          <p:cNvCxnSpPr>
            <a:cxnSpLocks/>
            <a:stCxn id="147" idx="3"/>
            <a:endCxn id="195" idx="1"/>
          </p:cNvCxnSpPr>
          <p:nvPr/>
        </p:nvCxnSpPr>
        <p:spPr bwMode="auto">
          <a:xfrm flipV="1">
            <a:off x="2942444" y="4104737"/>
            <a:ext cx="85184" cy="286940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0" name="Rechteck 107">
            <a:extLst>
              <a:ext uri="{FF2B5EF4-FFF2-40B4-BE49-F238E27FC236}">
                <a16:creationId xmlns:a16="http://schemas.microsoft.com/office/drawing/2014/main" id="{9E3B9843-6D2F-2F04-12B2-5654D2DE8858}"/>
              </a:ext>
            </a:extLst>
          </p:cNvPr>
          <p:cNvSpPr/>
          <p:nvPr/>
        </p:nvSpPr>
        <p:spPr bwMode="auto">
          <a:xfrm>
            <a:off x="8310358" y="2796418"/>
            <a:ext cx="698127" cy="19271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Hypercare</a:t>
            </a:r>
          </a:p>
        </p:txBody>
      </p:sp>
      <p:sp>
        <p:nvSpPr>
          <p:cNvPr id="161" name="Star: 5 Points 220">
            <a:extLst>
              <a:ext uri="{FF2B5EF4-FFF2-40B4-BE49-F238E27FC236}">
                <a16:creationId xmlns:a16="http://schemas.microsoft.com/office/drawing/2014/main" id="{743B9896-C372-16CF-B647-ECABBDDB25B3}"/>
              </a:ext>
            </a:extLst>
          </p:cNvPr>
          <p:cNvSpPr>
            <a:spLocks noChangeAspect="1"/>
          </p:cNvSpPr>
          <p:nvPr/>
        </p:nvSpPr>
        <p:spPr bwMode="auto">
          <a:xfrm>
            <a:off x="8228762" y="2795778"/>
            <a:ext cx="179188" cy="182768"/>
          </a:xfrm>
          <a:prstGeom prst="star5">
            <a:avLst/>
          </a:prstGeom>
          <a:solidFill>
            <a:srgbClr val="FFC0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lvl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Arial" charset="0"/>
            </a:endParaRPr>
          </a:p>
        </p:txBody>
      </p:sp>
      <p:sp>
        <p:nvSpPr>
          <p:cNvPr id="223" name="Rechteck 107">
            <a:extLst>
              <a:ext uri="{FF2B5EF4-FFF2-40B4-BE49-F238E27FC236}">
                <a16:creationId xmlns:a16="http://schemas.microsoft.com/office/drawing/2014/main" id="{F42C220F-4FF3-776C-288C-F131868C0154}"/>
              </a:ext>
            </a:extLst>
          </p:cNvPr>
          <p:cNvSpPr/>
          <p:nvPr/>
        </p:nvSpPr>
        <p:spPr bwMode="auto">
          <a:xfrm>
            <a:off x="6676611" y="2737528"/>
            <a:ext cx="914263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Cut Over Prep</a:t>
            </a: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1558DAA2-0721-E03F-3C4F-136DB07474B0}"/>
              </a:ext>
            </a:extLst>
          </p:cNvPr>
          <p:cNvSpPr/>
          <p:nvPr/>
        </p:nvSpPr>
        <p:spPr bwMode="auto">
          <a:xfrm>
            <a:off x="1120463" y="2212217"/>
            <a:ext cx="7920388" cy="4280569"/>
          </a:xfrm>
          <a:prstGeom prst="rect">
            <a:avLst/>
          </a:prstGeom>
          <a:solidFill>
            <a:srgbClr val="E8E9EB">
              <a:alpha val="81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>
              <a:buFont typeface="LindeDaxPowerPoint" panose="020B0500000000020000" pitchFamily="34" charset="0"/>
              <a:buChar char="–"/>
            </a:pPr>
            <a:endParaRPr lang="en-GB" dirty="0" err="1"/>
          </a:p>
        </p:txBody>
      </p:sp>
      <p:sp>
        <p:nvSpPr>
          <p:cNvPr id="130" name="Rechteck 107">
            <a:extLst>
              <a:ext uri="{FF2B5EF4-FFF2-40B4-BE49-F238E27FC236}">
                <a16:creationId xmlns:a16="http://schemas.microsoft.com/office/drawing/2014/main" id="{BCDD0CDB-4771-4620-23A7-9929D756722D}"/>
              </a:ext>
            </a:extLst>
          </p:cNvPr>
          <p:cNvSpPr/>
          <p:nvPr/>
        </p:nvSpPr>
        <p:spPr bwMode="auto">
          <a:xfrm>
            <a:off x="1619381" y="2537162"/>
            <a:ext cx="2599630" cy="146801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Functional Unit Testing</a:t>
            </a:r>
          </a:p>
        </p:txBody>
      </p:sp>
      <p:sp>
        <p:nvSpPr>
          <p:cNvPr id="153" name="Rechteck 107">
            <a:extLst>
              <a:ext uri="{FF2B5EF4-FFF2-40B4-BE49-F238E27FC236}">
                <a16:creationId xmlns:a16="http://schemas.microsoft.com/office/drawing/2014/main" id="{6A4A3D5F-9924-BA28-4529-673364A25C67}"/>
              </a:ext>
            </a:extLst>
          </p:cNvPr>
          <p:cNvSpPr/>
          <p:nvPr/>
        </p:nvSpPr>
        <p:spPr bwMode="auto">
          <a:xfrm>
            <a:off x="5883022" y="3798904"/>
            <a:ext cx="650142" cy="18276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TM2</a:t>
            </a:r>
          </a:p>
        </p:txBody>
      </p:sp>
      <p:sp>
        <p:nvSpPr>
          <p:cNvPr id="197" name="Rechteck 107">
            <a:extLst>
              <a:ext uri="{FF2B5EF4-FFF2-40B4-BE49-F238E27FC236}">
                <a16:creationId xmlns:a16="http://schemas.microsoft.com/office/drawing/2014/main" id="{858618D2-EF9B-903A-5190-BBD390D5E82F}"/>
              </a:ext>
            </a:extLst>
          </p:cNvPr>
          <p:cNvSpPr/>
          <p:nvPr/>
        </p:nvSpPr>
        <p:spPr bwMode="auto">
          <a:xfrm>
            <a:off x="4215995" y="3798904"/>
            <a:ext cx="832094" cy="18276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TM1</a:t>
            </a:r>
          </a:p>
        </p:txBody>
      </p:sp>
      <p:sp>
        <p:nvSpPr>
          <p:cNvPr id="154" name="Rechteck 107">
            <a:extLst>
              <a:ext uri="{FF2B5EF4-FFF2-40B4-BE49-F238E27FC236}">
                <a16:creationId xmlns:a16="http://schemas.microsoft.com/office/drawing/2014/main" id="{BBD273BB-7008-D6B9-5D39-AC74171A6931}"/>
              </a:ext>
            </a:extLst>
          </p:cNvPr>
          <p:cNvSpPr/>
          <p:nvPr/>
        </p:nvSpPr>
        <p:spPr bwMode="auto">
          <a:xfrm>
            <a:off x="7675581" y="3911753"/>
            <a:ext cx="319304" cy="18276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GL Sim</a:t>
            </a:r>
          </a:p>
        </p:txBody>
      </p:sp>
      <p:sp>
        <p:nvSpPr>
          <p:cNvPr id="151" name="Rechteck 107">
            <a:extLst>
              <a:ext uri="{FF2B5EF4-FFF2-40B4-BE49-F238E27FC236}">
                <a16:creationId xmlns:a16="http://schemas.microsoft.com/office/drawing/2014/main" id="{33E30277-586A-53B8-9061-DB62304AD722}"/>
              </a:ext>
            </a:extLst>
          </p:cNvPr>
          <p:cNvSpPr/>
          <p:nvPr/>
        </p:nvSpPr>
        <p:spPr bwMode="auto">
          <a:xfrm>
            <a:off x="5048710" y="3230758"/>
            <a:ext cx="829554" cy="19271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SIT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75D2CE8B-CAFA-E8BF-5C91-84C5A1032FE6}"/>
              </a:ext>
            </a:extLst>
          </p:cNvPr>
          <p:cNvSpPr txBox="1"/>
          <p:nvPr/>
        </p:nvSpPr>
        <p:spPr>
          <a:xfrm>
            <a:off x="5048709" y="3422398"/>
            <a:ext cx="826633" cy="994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Functional Data Val.</a:t>
            </a:r>
          </a:p>
        </p:txBody>
      </p:sp>
      <p:sp>
        <p:nvSpPr>
          <p:cNvPr id="220" name="Rechteck 107">
            <a:extLst>
              <a:ext uri="{FF2B5EF4-FFF2-40B4-BE49-F238E27FC236}">
                <a16:creationId xmlns:a16="http://schemas.microsoft.com/office/drawing/2014/main" id="{F34DAC5F-483C-D353-5B74-C4FEED151145}"/>
              </a:ext>
            </a:extLst>
          </p:cNvPr>
          <p:cNvSpPr/>
          <p:nvPr/>
        </p:nvSpPr>
        <p:spPr bwMode="auto">
          <a:xfrm>
            <a:off x="7604872" y="3012318"/>
            <a:ext cx="387133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Dress Reh</a:t>
            </a:r>
          </a:p>
        </p:txBody>
      </p:sp>
      <p:sp>
        <p:nvSpPr>
          <p:cNvPr id="224" name="Rechteck 107">
            <a:extLst>
              <a:ext uri="{FF2B5EF4-FFF2-40B4-BE49-F238E27FC236}">
                <a16:creationId xmlns:a16="http://schemas.microsoft.com/office/drawing/2014/main" id="{6C874AAF-C1E0-1FFC-A1C3-493C2A61CAD2}"/>
              </a:ext>
            </a:extLst>
          </p:cNvPr>
          <p:cNvSpPr/>
          <p:nvPr/>
        </p:nvSpPr>
        <p:spPr bwMode="auto">
          <a:xfrm>
            <a:off x="6543392" y="3230758"/>
            <a:ext cx="895591" cy="19271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UAT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CD93FCEC-5A45-A0EC-C738-6136CCC4EB74}"/>
              </a:ext>
            </a:extLst>
          </p:cNvPr>
          <p:cNvSpPr txBox="1"/>
          <p:nvPr/>
        </p:nvSpPr>
        <p:spPr>
          <a:xfrm>
            <a:off x="6543390" y="3423784"/>
            <a:ext cx="895592" cy="994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Functional Data Validation</a:t>
            </a:r>
          </a:p>
        </p:txBody>
      </p:sp>
      <p:sp>
        <p:nvSpPr>
          <p:cNvPr id="158" name="Rechteck 107">
            <a:extLst>
              <a:ext uri="{FF2B5EF4-FFF2-40B4-BE49-F238E27FC236}">
                <a16:creationId xmlns:a16="http://schemas.microsoft.com/office/drawing/2014/main" id="{18BD362A-EB44-771A-6E62-544F898583E8}"/>
              </a:ext>
            </a:extLst>
          </p:cNvPr>
          <p:cNvSpPr/>
          <p:nvPr/>
        </p:nvSpPr>
        <p:spPr bwMode="auto">
          <a:xfrm>
            <a:off x="7090390" y="4313291"/>
            <a:ext cx="575990" cy="130914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GLS (T8A)</a:t>
            </a:r>
          </a:p>
        </p:txBody>
      </p:sp>
      <p:cxnSp>
        <p:nvCxnSpPr>
          <p:cNvPr id="155" name="Connector: Elbow 154">
            <a:extLst>
              <a:ext uri="{FF2B5EF4-FFF2-40B4-BE49-F238E27FC236}">
                <a16:creationId xmlns:a16="http://schemas.microsoft.com/office/drawing/2014/main" id="{86B241EF-3E14-C240-8F24-C0267515A86B}"/>
              </a:ext>
            </a:extLst>
          </p:cNvPr>
          <p:cNvCxnSpPr>
            <a:cxnSpLocks/>
            <a:stCxn id="197" idx="3"/>
            <a:endCxn id="151" idx="1"/>
          </p:cNvCxnSpPr>
          <p:nvPr/>
        </p:nvCxnSpPr>
        <p:spPr bwMode="auto">
          <a:xfrm flipV="1">
            <a:off x="5048089" y="3327115"/>
            <a:ext cx="621" cy="563173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6" name="Connector: Elbow 155">
            <a:extLst>
              <a:ext uri="{FF2B5EF4-FFF2-40B4-BE49-F238E27FC236}">
                <a16:creationId xmlns:a16="http://schemas.microsoft.com/office/drawing/2014/main" id="{499914CA-0946-3565-2A16-B16F1B769F4F}"/>
              </a:ext>
            </a:extLst>
          </p:cNvPr>
          <p:cNvCxnSpPr>
            <a:cxnSpLocks/>
            <a:stCxn id="153" idx="3"/>
            <a:endCxn id="224" idx="1"/>
          </p:cNvCxnSpPr>
          <p:nvPr/>
        </p:nvCxnSpPr>
        <p:spPr bwMode="auto">
          <a:xfrm flipV="1">
            <a:off x="6533164" y="3327115"/>
            <a:ext cx="10228" cy="563173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2" name="Connector: Elbow 161">
            <a:extLst>
              <a:ext uri="{FF2B5EF4-FFF2-40B4-BE49-F238E27FC236}">
                <a16:creationId xmlns:a16="http://schemas.microsoft.com/office/drawing/2014/main" id="{4DFE2B14-BD8E-E7FF-6FFD-BF215DAF4C0D}"/>
              </a:ext>
            </a:extLst>
          </p:cNvPr>
          <p:cNvCxnSpPr>
            <a:cxnSpLocks/>
            <a:stCxn id="163" idx="3"/>
            <a:endCxn id="153" idx="1"/>
          </p:cNvCxnSpPr>
          <p:nvPr/>
        </p:nvCxnSpPr>
        <p:spPr bwMode="auto">
          <a:xfrm>
            <a:off x="5875342" y="3472132"/>
            <a:ext cx="7680" cy="418156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6" name="Connector: Elbow 205">
            <a:extLst>
              <a:ext uri="{FF2B5EF4-FFF2-40B4-BE49-F238E27FC236}">
                <a16:creationId xmlns:a16="http://schemas.microsoft.com/office/drawing/2014/main" id="{AE78977C-1ADF-F782-F07D-00BEBF92BCB1}"/>
              </a:ext>
            </a:extLst>
          </p:cNvPr>
          <p:cNvCxnSpPr>
            <a:cxnSpLocks/>
            <a:stCxn id="158" idx="3"/>
            <a:endCxn id="154" idx="1"/>
          </p:cNvCxnSpPr>
          <p:nvPr/>
        </p:nvCxnSpPr>
        <p:spPr bwMode="auto">
          <a:xfrm flipV="1">
            <a:off x="7666380" y="4003137"/>
            <a:ext cx="9201" cy="375611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6" name="Rectangle 245">
            <a:extLst>
              <a:ext uri="{FF2B5EF4-FFF2-40B4-BE49-F238E27FC236}">
                <a16:creationId xmlns:a16="http://schemas.microsoft.com/office/drawing/2014/main" id="{7F7CC0E1-DB88-6358-E6FE-942D6A0DCD51}"/>
              </a:ext>
            </a:extLst>
          </p:cNvPr>
          <p:cNvSpPr/>
          <p:nvPr/>
        </p:nvSpPr>
        <p:spPr bwMode="auto">
          <a:xfrm>
            <a:off x="1539195" y="2452910"/>
            <a:ext cx="3412133" cy="342868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96AEF010-7E91-2EF3-3D98-19AEAF60680C}"/>
              </a:ext>
            </a:extLst>
          </p:cNvPr>
          <p:cNvSpPr/>
          <p:nvPr/>
        </p:nvSpPr>
        <p:spPr bwMode="auto">
          <a:xfrm>
            <a:off x="5016454" y="3191224"/>
            <a:ext cx="897346" cy="427907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9F1B2DCA-EB47-8D59-99EC-E2C048D5F583}"/>
              </a:ext>
            </a:extLst>
          </p:cNvPr>
          <p:cNvSpPr/>
          <p:nvPr/>
        </p:nvSpPr>
        <p:spPr bwMode="auto">
          <a:xfrm>
            <a:off x="6492116" y="3176385"/>
            <a:ext cx="1002854" cy="431600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F17D0094-BE6F-CDCF-AB8B-5E1F19771993}"/>
              </a:ext>
            </a:extLst>
          </p:cNvPr>
          <p:cNvSpPr/>
          <p:nvPr/>
        </p:nvSpPr>
        <p:spPr bwMode="auto">
          <a:xfrm rot="10800000">
            <a:off x="7604870" y="3863813"/>
            <a:ext cx="449557" cy="276760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92583639-EB98-1849-73E2-A2298898F28F}"/>
              </a:ext>
            </a:extLst>
          </p:cNvPr>
          <p:cNvSpPr/>
          <p:nvPr/>
        </p:nvSpPr>
        <p:spPr bwMode="auto">
          <a:xfrm rot="10800000">
            <a:off x="4152057" y="3777684"/>
            <a:ext cx="934070" cy="276760"/>
          </a:xfrm>
          <a:prstGeom prst="rect">
            <a:avLst/>
          </a:prstGeom>
          <a:noFill/>
          <a:ln w="285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252" name="Rectangle 251">
            <a:extLst>
              <a:ext uri="{FF2B5EF4-FFF2-40B4-BE49-F238E27FC236}">
                <a16:creationId xmlns:a16="http://schemas.microsoft.com/office/drawing/2014/main" id="{3B79F12C-585D-0D64-B47D-88CFC5742E3C}"/>
              </a:ext>
            </a:extLst>
          </p:cNvPr>
          <p:cNvSpPr/>
          <p:nvPr/>
        </p:nvSpPr>
        <p:spPr bwMode="auto">
          <a:xfrm rot="10800000">
            <a:off x="5693190" y="3768234"/>
            <a:ext cx="953119" cy="228166"/>
          </a:xfrm>
          <a:prstGeom prst="rect">
            <a:avLst/>
          </a:prstGeom>
          <a:noFill/>
          <a:ln w="285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304CF2B7-3FBC-F763-D155-5DE57C5FB0A5}"/>
              </a:ext>
            </a:extLst>
          </p:cNvPr>
          <p:cNvSpPr/>
          <p:nvPr/>
        </p:nvSpPr>
        <p:spPr bwMode="auto">
          <a:xfrm rot="10800000">
            <a:off x="5930231" y="4463292"/>
            <a:ext cx="1586462" cy="194566"/>
          </a:xfrm>
          <a:prstGeom prst="rect">
            <a:avLst/>
          </a:prstGeom>
          <a:noFill/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157" name="Rechteck 107">
            <a:extLst>
              <a:ext uri="{FF2B5EF4-FFF2-40B4-BE49-F238E27FC236}">
                <a16:creationId xmlns:a16="http://schemas.microsoft.com/office/drawing/2014/main" id="{6DD50B0C-3B8A-C8D3-6E58-A4E4BEB48823}"/>
              </a:ext>
            </a:extLst>
          </p:cNvPr>
          <p:cNvSpPr/>
          <p:nvPr/>
        </p:nvSpPr>
        <p:spPr bwMode="auto">
          <a:xfrm>
            <a:off x="5036481" y="4309710"/>
            <a:ext cx="842032" cy="130914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TM2, SRC1</a:t>
            </a:r>
          </a:p>
        </p:txBody>
      </p:sp>
      <p:sp>
        <p:nvSpPr>
          <p:cNvPr id="141" name="Rechteck 107">
            <a:extLst>
              <a:ext uri="{FF2B5EF4-FFF2-40B4-BE49-F238E27FC236}">
                <a16:creationId xmlns:a16="http://schemas.microsoft.com/office/drawing/2014/main" id="{E9928326-3342-F20E-9903-6705A44639EB}"/>
              </a:ext>
            </a:extLst>
          </p:cNvPr>
          <p:cNvSpPr/>
          <p:nvPr/>
        </p:nvSpPr>
        <p:spPr bwMode="auto">
          <a:xfrm>
            <a:off x="2755103" y="4503791"/>
            <a:ext cx="1460655" cy="130914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TM1 (T8A), SRC2</a:t>
            </a:r>
          </a:p>
        </p:txBody>
      </p:sp>
      <p:sp>
        <p:nvSpPr>
          <p:cNvPr id="159" name="Rechteck 107">
            <a:extLst>
              <a:ext uri="{FF2B5EF4-FFF2-40B4-BE49-F238E27FC236}">
                <a16:creationId xmlns:a16="http://schemas.microsoft.com/office/drawing/2014/main" id="{5304DBFC-2F70-2FF9-A671-FD22F34CAD3C}"/>
              </a:ext>
            </a:extLst>
          </p:cNvPr>
          <p:cNvSpPr/>
          <p:nvPr/>
        </p:nvSpPr>
        <p:spPr bwMode="auto">
          <a:xfrm>
            <a:off x="5965494" y="4489962"/>
            <a:ext cx="1499257" cy="130914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production P2A</a:t>
            </a:r>
          </a:p>
        </p:txBody>
      </p:sp>
      <p:cxnSp>
        <p:nvCxnSpPr>
          <p:cNvPr id="217" name="Connector: Elbow 216">
            <a:extLst>
              <a:ext uri="{FF2B5EF4-FFF2-40B4-BE49-F238E27FC236}">
                <a16:creationId xmlns:a16="http://schemas.microsoft.com/office/drawing/2014/main" id="{388B65D1-0551-B3C1-1655-3E26BBAC51BD}"/>
              </a:ext>
            </a:extLst>
          </p:cNvPr>
          <p:cNvCxnSpPr>
            <a:cxnSpLocks/>
            <a:stCxn id="141" idx="3"/>
            <a:endCxn id="197" idx="1"/>
          </p:cNvCxnSpPr>
          <p:nvPr/>
        </p:nvCxnSpPr>
        <p:spPr bwMode="auto">
          <a:xfrm flipV="1">
            <a:off x="4215758" y="3890288"/>
            <a:ext cx="237" cy="678960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1" name="Connector: Elbow 190">
            <a:extLst>
              <a:ext uri="{FF2B5EF4-FFF2-40B4-BE49-F238E27FC236}">
                <a16:creationId xmlns:a16="http://schemas.microsoft.com/office/drawing/2014/main" id="{64C8A55F-8EC6-4DD0-3516-B10814159696}"/>
              </a:ext>
            </a:extLst>
          </p:cNvPr>
          <p:cNvCxnSpPr>
            <a:cxnSpLocks/>
            <a:stCxn id="157" idx="3"/>
            <a:endCxn id="153" idx="1"/>
          </p:cNvCxnSpPr>
          <p:nvPr/>
        </p:nvCxnSpPr>
        <p:spPr bwMode="auto">
          <a:xfrm flipV="1">
            <a:off x="5878513" y="3890288"/>
            <a:ext cx="4509" cy="484879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712AA55A-7843-59DB-E4DE-EFF1276E5D9F}"/>
              </a:ext>
            </a:extLst>
          </p:cNvPr>
          <p:cNvSpPr/>
          <p:nvPr/>
        </p:nvSpPr>
        <p:spPr bwMode="auto">
          <a:xfrm rot="10800000">
            <a:off x="4977604" y="4280990"/>
            <a:ext cx="977861" cy="194566"/>
          </a:xfrm>
          <a:prstGeom prst="rect">
            <a:avLst/>
          </a:prstGeom>
          <a:noFill/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137024-E474-844C-A3C3-2FDC563CC555}"/>
              </a:ext>
            </a:extLst>
          </p:cNvPr>
          <p:cNvSpPr/>
          <p:nvPr/>
        </p:nvSpPr>
        <p:spPr bwMode="auto">
          <a:xfrm rot="10800000">
            <a:off x="2694573" y="4471513"/>
            <a:ext cx="1567205" cy="194566"/>
          </a:xfrm>
          <a:prstGeom prst="rect">
            <a:avLst/>
          </a:prstGeom>
          <a:noFill/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72660A3-6FEF-E348-B8A4-0251E7CB8655}"/>
              </a:ext>
            </a:extLst>
          </p:cNvPr>
          <p:cNvSpPr/>
          <p:nvPr/>
        </p:nvSpPr>
        <p:spPr bwMode="auto">
          <a:xfrm rot="10800000">
            <a:off x="7059560" y="4280990"/>
            <a:ext cx="677393" cy="194566"/>
          </a:xfrm>
          <a:prstGeom prst="rect">
            <a:avLst/>
          </a:prstGeom>
          <a:noFill/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A4E8869-8397-F73C-7447-903433FEC9E9}"/>
              </a:ext>
            </a:extLst>
          </p:cNvPr>
          <p:cNvSpPr/>
          <p:nvPr/>
        </p:nvSpPr>
        <p:spPr bwMode="auto">
          <a:xfrm rot="10800000">
            <a:off x="7573659" y="2956540"/>
            <a:ext cx="449557" cy="302101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218" name="Rechteck 107">
            <a:extLst>
              <a:ext uri="{FF2B5EF4-FFF2-40B4-BE49-F238E27FC236}">
                <a16:creationId xmlns:a16="http://schemas.microsoft.com/office/drawing/2014/main" id="{BBC52D49-C847-F4FA-884D-C0741B7F93A1}"/>
              </a:ext>
            </a:extLst>
          </p:cNvPr>
          <p:cNvSpPr/>
          <p:nvPr/>
        </p:nvSpPr>
        <p:spPr bwMode="auto">
          <a:xfrm>
            <a:off x="4222310" y="2537162"/>
            <a:ext cx="704380" cy="14680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TM0 Unit Test</a:t>
            </a:r>
          </a:p>
        </p:txBody>
      </p:sp>
      <p:sp>
        <p:nvSpPr>
          <p:cNvPr id="195" name="Rechteck 107">
            <a:extLst>
              <a:ext uri="{FF2B5EF4-FFF2-40B4-BE49-F238E27FC236}">
                <a16:creationId xmlns:a16="http://schemas.microsoft.com/office/drawing/2014/main" id="{6ADE853D-5434-D8E1-D3AE-4E8534BA50BE}"/>
              </a:ext>
            </a:extLst>
          </p:cNvPr>
          <p:cNvSpPr/>
          <p:nvPr/>
        </p:nvSpPr>
        <p:spPr bwMode="auto">
          <a:xfrm>
            <a:off x="3027628" y="4013353"/>
            <a:ext cx="1182069" cy="18276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Arial" charset="0"/>
              </a:rPr>
              <a:t>TM0</a:t>
            </a:r>
          </a:p>
        </p:txBody>
      </p:sp>
      <p:cxnSp>
        <p:nvCxnSpPr>
          <p:cNvPr id="219" name="Connector: Elbow 218">
            <a:extLst>
              <a:ext uri="{FF2B5EF4-FFF2-40B4-BE49-F238E27FC236}">
                <a16:creationId xmlns:a16="http://schemas.microsoft.com/office/drawing/2014/main" id="{4A4CDF27-41FF-EB05-AC42-920E4561681B}"/>
              </a:ext>
            </a:extLst>
          </p:cNvPr>
          <p:cNvCxnSpPr>
            <a:cxnSpLocks/>
            <a:stCxn id="195" idx="3"/>
            <a:endCxn id="218" idx="1"/>
          </p:cNvCxnSpPr>
          <p:nvPr/>
        </p:nvCxnSpPr>
        <p:spPr bwMode="auto">
          <a:xfrm flipV="1">
            <a:off x="4209697" y="2610562"/>
            <a:ext cx="12613" cy="1494175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10B4EC3D-93A2-4983-CDC9-7DE4CAB4209D}"/>
              </a:ext>
            </a:extLst>
          </p:cNvPr>
          <p:cNvSpPr/>
          <p:nvPr/>
        </p:nvSpPr>
        <p:spPr bwMode="auto">
          <a:xfrm rot="10800000">
            <a:off x="2968285" y="3964197"/>
            <a:ext cx="1292308" cy="304274"/>
          </a:xfrm>
          <a:prstGeom prst="rect">
            <a:avLst/>
          </a:prstGeom>
          <a:noFill/>
          <a:ln w="285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CD09110-CF03-4F31-8772-AA185C6CC7E0}"/>
              </a:ext>
            </a:extLst>
          </p:cNvPr>
          <p:cNvSpPr txBox="1"/>
          <p:nvPr/>
        </p:nvSpPr>
        <p:spPr>
          <a:xfrm>
            <a:off x="9467759" y="5781810"/>
            <a:ext cx="2498940" cy="6853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altLang="en-US" sz="1200" b="1" i="0" strike="noStrike" cap="none" normalizeH="0" baseline="0" dirty="0">
                <a:ln>
                  <a:noFill/>
                </a:ln>
                <a:solidFill>
                  <a:srgbClr val="00A0E1"/>
                </a:solidFill>
                <a:effectLst/>
                <a:latin typeface="+mj-lt"/>
              </a:rPr>
              <a:t>#</a:t>
            </a:r>
            <a:r>
              <a:rPr kumimoji="0" lang="en-US" altLang="en-US" sz="1200" b="1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  <a:r>
              <a:rPr kumimoji="0" lang="en-US" altLang="en-US" sz="120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Refer to the </a:t>
            </a:r>
            <a:r>
              <a:rPr lang="en-US" altLang="en-US" sz="1200" dirty="0">
                <a:latin typeface="+mj-lt"/>
                <a:hlinkClick r:id="rId3"/>
              </a:rPr>
              <a:t>SAP S4 US &amp; Mexico Project Governance.pptx </a:t>
            </a:r>
            <a:r>
              <a:rPr kumimoji="0" lang="en-US" altLang="en-US" sz="120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for the Project plan.</a:t>
            </a:r>
            <a:endParaRPr lang="en-GB" sz="1200" dirty="0"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B8BE325-A1E4-815A-0379-B15D001FE9FE}"/>
              </a:ext>
            </a:extLst>
          </p:cNvPr>
          <p:cNvSpPr txBox="1"/>
          <p:nvPr/>
        </p:nvSpPr>
        <p:spPr>
          <a:xfrm>
            <a:off x="4398746" y="3546701"/>
            <a:ext cx="591638" cy="216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800" kern="100" dirty="0">
                <a:solidFill>
                  <a:srgbClr val="000000"/>
                </a:solidFill>
                <a:latin typeface="LindeDaxPowerPoint"/>
                <a:ea typeface="Malgun Gothic" panose="020B0503020000020004" pitchFamily="34" charset="-127"/>
                <a:cs typeface="Times New Roman" panose="02020603050405020304" pitchFamily="18" charset="0"/>
              </a:rPr>
              <a:t>8 Weeks</a:t>
            </a: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155294C-207D-A1CB-883E-2282B2FB3C39}"/>
              </a:ext>
            </a:extLst>
          </p:cNvPr>
          <p:cNvSpPr txBox="1"/>
          <p:nvPr/>
        </p:nvSpPr>
        <p:spPr>
          <a:xfrm>
            <a:off x="5255481" y="2983143"/>
            <a:ext cx="592587" cy="216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Malgun Gothic" panose="020B0503020000020004" pitchFamily="34" charset="-127"/>
                <a:cs typeface="Times New Roman" panose="02020603050405020304" pitchFamily="18" charset="0"/>
              </a:rPr>
              <a:t>8 Weeks </a:t>
            </a: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6E5E54E-A624-A376-CA06-78EEDD5640FC}"/>
              </a:ext>
            </a:extLst>
          </p:cNvPr>
          <p:cNvSpPr txBox="1"/>
          <p:nvPr/>
        </p:nvSpPr>
        <p:spPr>
          <a:xfrm>
            <a:off x="3271167" y="3747784"/>
            <a:ext cx="651200" cy="216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800" kern="100" dirty="0">
                <a:solidFill>
                  <a:srgbClr val="000000"/>
                </a:solidFill>
                <a:latin typeface="LindeDaxPowerPoint"/>
                <a:ea typeface="Malgun Gothic" panose="020B0503020000020004" pitchFamily="34" charset="-127"/>
                <a:cs typeface="Times New Roman" panose="02020603050405020304" pitchFamily="18" charset="0"/>
              </a:rPr>
              <a:t>11 Weeks</a:t>
            </a: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E425FC-F0A6-46E1-586D-7356CA225BB3}"/>
              </a:ext>
            </a:extLst>
          </p:cNvPr>
          <p:cNvSpPr txBox="1"/>
          <p:nvPr/>
        </p:nvSpPr>
        <p:spPr>
          <a:xfrm>
            <a:off x="5909203" y="3532840"/>
            <a:ext cx="594970" cy="216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Malgun Gothic" panose="020B0503020000020004" pitchFamily="34" charset="-127"/>
                <a:cs typeface="Times New Roman" panose="02020603050405020304" pitchFamily="18" charset="0"/>
              </a:rPr>
              <a:t>6 Weeks</a:t>
            </a: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FFF882E-AB8E-BC4F-C4B1-F2E7A78486C1}"/>
              </a:ext>
            </a:extLst>
          </p:cNvPr>
          <p:cNvSpPr txBox="1"/>
          <p:nvPr/>
        </p:nvSpPr>
        <p:spPr>
          <a:xfrm>
            <a:off x="6689183" y="2963497"/>
            <a:ext cx="660065" cy="216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Malgun Gothic" panose="020B0503020000020004" pitchFamily="34" charset="-127"/>
                <a:cs typeface="Times New Roman" panose="02020603050405020304" pitchFamily="18" charset="0"/>
              </a:rPr>
              <a:t>9 Weeks</a:t>
            </a: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A9DAEA5-8886-D8ED-4E23-D4D8A8A2AAEA}"/>
              </a:ext>
            </a:extLst>
          </p:cNvPr>
          <p:cNvSpPr txBox="1"/>
          <p:nvPr/>
        </p:nvSpPr>
        <p:spPr>
          <a:xfrm>
            <a:off x="5144707" y="4058326"/>
            <a:ext cx="664399" cy="216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Malgun Gothic" panose="020B0503020000020004" pitchFamily="34" charset="-127"/>
                <a:cs typeface="Times New Roman" panose="02020603050405020304" pitchFamily="18" charset="0"/>
              </a:rPr>
              <a:t>6 Weeks</a:t>
            </a: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A0D2DB4-E623-5B65-96C7-D2D86F2B473E}"/>
              </a:ext>
            </a:extLst>
          </p:cNvPr>
          <p:cNvSpPr txBox="1"/>
          <p:nvPr/>
        </p:nvSpPr>
        <p:spPr>
          <a:xfrm>
            <a:off x="7593730" y="2768505"/>
            <a:ext cx="1098820" cy="216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3 Week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06AC7C0-D5A3-EEF3-7024-8FFE57622876}"/>
              </a:ext>
            </a:extLst>
          </p:cNvPr>
          <p:cNvSpPr txBox="1"/>
          <p:nvPr/>
        </p:nvSpPr>
        <p:spPr>
          <a:xfrm>
            <a:off x="6323711" y="4262133"/>
            <a:ext cx="609513" cy="216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Malgun Gothic" panose="020B0503020000020004" pitchFamily="34" charset="-127"/>
                <a:cs typeface="Times New Roman" panose="02020603050405020304" pitchFamily="18" charset="0"/>
              </a:rPr>
              <a:t>15 Weeks</a:t>
            </a: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4376665-FC99-8459-52EF-29A485569396}"/>
              </a:ext>
            </a:extLst>
          </p:cNvPr>
          <p:cNvSpPr txBox="1"/>
          <p:nvPr/>
        </p:nvSpPr>
        <p:spPr>
          <a:xfrm>
            <a:off x="7081555" y="4081682"/>
            <a:ext cx="614818" cy="216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Malgun Gothic" panose="020B0503020000020004" pitchFamily="34" charset="-127"/>
                <a:cs typeface="Times New Roman" panose="02020603050405020304" pitchFamily="18" charset="0"/>
              </a:rPr>
              <a:t>6 Weeks</a:t>
            </a: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9445F5B-7050-18C8-473E-43A1C8C253DC}"/>
              </a:ext>
            </a:extLst>
          </p:cNvPr>
          <p:cNvSpPr txBox="1"/>
          <p:nvPr/>
        </p:nvSpPr>
        <p:spPr>
          <a:xfrm>
            <a:off x="7585472" y="3648111"/>
            <a:ext cx="583014" cy="216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/>
                <a:ea typeface="Malgun Gothic" panose="020B0503020000020004" pitchFamily="34" charset="-127"/>
                <a:cs typeface="Times New Roman" panose="02020603050405020304" pitchFamily="18" charset="0"/>
              </a:rPr>
              <a:t>2 Weeks</a:t>
            </a: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+mn-cs"/>
            </a:endParaRPr>
          </a:p>
        </p:txBody>
      </p:sp>
      <p:sp>
        <p:nvSpPr>
          <p:cNvPr id="11" name="TextBox 256">
            <a:extLst>
              <a:ext uri="{FF2B5EF4-FFF2-40B4-BE49-F238E27FC236}">
                <a16:creationId xmlns:a16="http://schemas.microsoft.com/office/drawing/2014/main" id="{2DC40794-22B7-328F-B263-248929FFC101}"/>
              </a:ext>
            </a:extLst>
          </p:cNvPr>
          <p:cNvSpPr txBox="1"/>
          <p:nvPr/>
        </p:nvSpPr>
        <p:spPr>
          <a:xfrm>
            <a:off x="3201593" y="4262212"/>
            <a:ext cx="599844" cy="21544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4F5F6"/>
                </a:highlight>
                <a:uLnTx/>
                <a:uFillTx/>
                <a:latin typeface="LindeDaxPowerPoint"/>
                <a:ea typeface="+mn-ea"/>
                <a:cs typeface="Arial" charset="0"/>
              </a:rPr>
              <a:t>12 weeks</a:t>
            </a:r>
          </a:p>
        </p:txBody>
      </p:sp>
    </p:spTree>
    <p:extLst>
      <p:ext uri="{BB962C8B-B14F-4D97-AF65-F5344CB8AC3E}">
        <p14:creationId xmlns:p14="http://schemas.microsoft.com/office/powerpoint/2010/main" val="15535193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FF29418-1C8A-B008-FEE1-76E35BC593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-MX HANA Satellites Overview</a:t>
            </a:r>
            <a:br>
              <a:rPr lang="en-US" dirty="0"/>
            </a:br>
            <a:r>
              <a:rPr lang="en-US" b="0" dirty="0">
                <a:solidFill>
                  <a:schemeClr val="tx2"/>
                </a:solidFill>
              </a:rPr>
              <a:t>Possible Limitations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2E595BC-A25B-9755-B2BD-D16EC0D4FC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1400" dirty="0"/>
              <a:t>Satellite Test systems not always available, especially when dealing with third parties such as banks, customers or suppliers . </a:t>
            </a:r>
          </a:p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r>
              <a:rPr lang="en-GB" sz="1400" dirty="0"/>
              <a:t>Some tests may have to be simulated and/or involve comparisons of results with ECC. </a:t>
            </a:r>
          </a:p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r>
              <a:rPr lang="en-GB" sz="1400" dirty="0"/>
              <a:t>Where satellite owners reside outside regional/corporate IT, early alignment and commitment of support needs to be ensured</a:t>
            </a:r>
          </a:p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r>
              <a:rPr lang="en-GB" sz="1400" dirty="0"/>
              <a:t>Some satellites can only support one test environment and must be switched between systems. </a:t>
            </a:r>
          </a:p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r>
              <a:rPr lang="en-GB" sz="1400" dirty="0"/>
              <a:t>There may be some different setups or the way some satellites are used between regions.</a:t>
            </a:r>
          </a:p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r>
              <a:rPr lang="en-GB" sz="1400" dirty="0"/>
              <a:t>Connected systems may be required for production support or business critical enhancements. Testing needs to be planned accordingly. </a:t>
            </a:r>
          </a:p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r>
              <a:rPr lang="en-GB" sz="1400" dirty="0"/>
              <a:t>Prioritize satellites applications relating to cutover. </a:t>
            </a:r>
          </a:p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r>
              <a:rPr lang="en-GB" sz="1400" dirty="0"/>
              <a:t>All involved must have a clear understanding of configuration/setup. Ensure documentation, functional/technical resources and, if required, suppliers are available. </a:t>
            </a:r>
          </a:p>
        </p:txBody>
      </p:sp>
    </p:spTree>
    <p:extLst>
      <p:ext uri="{BB962C8B-B14F-4D97-AF65-F5344CB8AC3E}">
        <p14:creationId xmlns:p14="http://schemas.microsoft.com/office/powerpoint/2010/main" val="9836146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/>
              <a:t>Thank you for your attention.</a:t>
            </a:r>
            <a:endParaRPr lang="en-GB" noProof="0" dirty="0"/>
          </a:p>
        </p:txBody>
      </p:sp>
      <p:pic>
        <p:nvPicPr>
          <p:cNvPr id="5" name="Bildplatzhalter 5">
            <a:extLst>
              <a:ext uri="{FF2B5EF4-FFF2-40B4-BE49-F238E27FC236}">
                <a16:creationId xmlns:a16="http://schemas.microsoft.com/office/drawing/2014/main" id="{93DA39C5-5FAB-4D5F-AAE4-B049314239A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524000" y="0"/>
            <a:ext cx="9144000" cy="3429000"/>
          </a:xfrm>
        </p:spPr>
      </p:pic>
    </p:spTree>
    <p:extLst>
      <p:ext uri="{BB962C8B-B14F-4D97-AF65-F5344CB8AC3E}">
        <p14:creationId xmlns:p14="http://schemas.microsoft.com/office/powerpoint/2010/main" val="13814246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1BD8F0-B67D-EE73-B9FB-BFB910329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501" y="152403"/>
            <a:ext cx="8881532" cy="1023937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US-MX HANA Satellites Overview</a:t>
            </a:r>
            <a:br>
              <a:rPr lang="en-GB" dirty="0"/>
            </a:br>
            <a:r>
              <a:rPr lang="en-US" b="0" dirty="0">
                <a:solidFill>
                  <a:schemeClr val="tx2"/>
                </a:solidFill>
              </a:rPr>
              <a:t>Introduction</a:t>
            </a:r>
            <a:endParaRPr lang="en-GB" b="0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9A8E26C2-90E6-6BC0-BD77-3606EF3CE4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1799" y="6453336"/>
            <a:ext cx="960000" cy="252264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600"/>
              </a:spcAft>
            </a:pPr>
            <a:fld id="{DAB61AD4-455F-4DE0-8A9C-F6BB3C31672D}" type="datetime1">
              <a:rPr lang="en-US" noProof="0" smtClean="0"/>
              <a:pPr>
                <a:lnSpc>
                  <a:spcPct val="100000"/>
                </a:lnSpc>
                <a:spcAft>
                  <a:spcPts val="600"/>
                </a:spcAft>
              </a:pPr>
              <a:t>3/9/2025</a:t>
            </a:fld>
            <a:endParaRPr lang="en-GB" noProof="0"/>
          </a:p>
        </p:txBody>
      </p:sp>
      <p:graphicFrame>
        <p:nvGraphicFramePr>
          <p:cNvPr id="16" name="Content Placeholder 2">
            <a:extLst>
              <a:ext uri="{FF2B5EF4-FFF2-40B4-BE49-F238E27FC236}">
                <a16:creationId xmlns:a16="http://schemas.microsoft.com/office/drawing/2014/main" id="{43FA8CE2-1635-8583-2FC5-74CCCE430A8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08049569"/>
              </p:ext>
            </p:extLst>
          </p:nvPr>
        </p:nvGraphicFramePr>
        <p:xfrm>
          <a:off x="1261981" y="1555899"/>
          <a:ext cx="9301745" cy="4897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002816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5FDBF2-EAF6-DE7E-36B6-C1F4697CD8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-MX HANA Satellites Overview</a:t>
            </a:r>
            <a:br>
              <a:rPr lang="en-US" dirty="0"/>
            </a:br>
            <a:r>
              <a:rPr lang="en-US" b="0" dirty="0">
                <a:solidFill>
                  <a:schemeClr val="tx2"/>
                </a:solidFill>
              </a:rPr>
              <a:t>Satellite Lead 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AC695-8575-F54A-5EB9-819F01CC16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0" y="1447369"/>
            <a:ext cx="11328399" cy="4897437"/>
          </a:xfrm>
        </p:spPr>
        <p:txBody>
          <a:bodyPr/>
          <a:lstStyle/>
          <a:p>
            <a:pPr marL="0" marR="0" indent="0">
              <a:lnSpc>
                <a:spcPct val="107000"/>
              </a:lnSpc>
              <a:spcBef>
                <a:spcPts val="200"/>
              </a:spcBef>
              <a:spcAft>
                <a:spcPts val="0"/>
              </a:spcAft>
              <a:buNone/>
            </a:pPr>
            <a:r>
              <a:rPr lang="en-US" sz="1800" b="1" kern="100" dirty="0">
                <a:solidFill>
                  <a:srgbClr val="2F5496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sponsibilities</a:t>
            </a: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y activities (high level)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dentify the connected systems/services (aka satellites)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dentify owners, key technical/functional resources and vendors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ign on priority, criticality, and timing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derstand the requirements for connectivity such as effort, business data, technical configuration etc. </a:t>
            </a:r>
          </a:p>
          <a:p>
            <a:pPr marL="34290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st preparation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sure services are available for testing as per the agreed schedule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sure services are available for go live as per the agreed schedule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vide support during test phases and go live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age assigned defects, ensuring timely resolution and escalate as required. 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nimize impact to business operations.</a:t>
            </a:r>
          </a:p>
          <a:p>
            <a:pPr>
              <a:buFontTx/>
              <a:buChar char="-"/>
            </a:pPr>
            <a:endParaRPr lang="en-US" sz="1400" dirty="0"/>
          </a:p>
          <a:p>
            <a:pPr marL="177800" lvl="1" indent="0">
              <a:buNone/>
            </a:pPr>
            <a:endParaRPr lang="en-US" kern="1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0E11C2-54E4-E6E6-EC8B-3261022A9D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DAB61AD4-455F-4DE0-8A9C-F6BB3C31672D}" type="datetime1">
              <a:rPr lang="en-US" noProof="0" smtClean="0"/>
              <a:t>3/9/2025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30766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5FDBF2-EAF6-DE7E-36B6-C1F4697CD8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-MX HANA Satellites Overview</a:t>
            </a:r>
            <a:br>
              <a:rPr lang="en-US" dirty="0"/>
            </a:br>
            <a:r>
              <a:rPr lang="en-US" b="0" dirty="0">
                <a:solidFill>
                  <a:schemeClr val="tx2"/>
                </a:solidFill>
              </a:rPr>
              <a:t>Satellite 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AC695-8575-F54A-5EB9-819F01CC16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0" y="1447369"/>
            <a:ext cx="11328399" cy="4897437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/>
              <a:t>What are satellites</a:t>
            </a:r>
          </a:p>
          <a:p>
            <a:pPr marL="0" indent="0">
              <a:buNone/>
            </a:pPr>
            <a:r>
              <a:rPr lang="en-US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atellite systems are separate, specialized applications that are not part of the core SAP ECC  (ERP Central Component) or S/4 HANA system but are integrated with it to handle specific business functions. 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r>
              <a:rPr lang="en-US" sz="1400" dirty="0"/>
              <a:t>Types of satellit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400" dirty="0"/>
              <a:t>Technical - focuses on the underlying system infrastructure and technical aspects like data management, system administration, and integration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400" dirty="0"/>
              <a:t>Functional - </a:t>
            </a:r>
            <a:r>
              <a:rPr lang="en-US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usiness-focused components </a:t>
            </a:r>
            <a:r>
              <a:rPr lang="en-US" sz="1400" dirty="0"/>
              <a:t>designed to deal with user interaction and address specific business needs like sales, finance, or HR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0" indent="0">
              <a:buNone/>
            </a:pPr>
            <a:r>
              <a:rPr lang="en-US" sz="1400" dirty="0"/>
              <a:t>What are the different ways satellites interface with SAP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400" kern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I/PO (</a:t>
            </a:r>
            <a:r>
              <a:rPr lang="en-US" sz="1400" kern="0" dirty="0">
                <a:effectLst/>
                <a:ea typeface="Times New Roman" panose="02020603050405020304" pitchFamily="18" charset="0"/>
              </a:rPr>
              <a:t>Process Integration/Process Orchestration)</a:t>
            </a:r>
            <a:endParaRPr lang="en-US" sz="1400" kern="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FC (Remote Function Call)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TP (</a:t>
            </a:r>
            <a:r>
              <a:rPr lang="en-US" sz="1400" dirty="0"/>
              <a:t>File Transfer Protocol)</a:t>
            </a:r>
            <a:endParaRPr lang="en-US" sz="1400" kern="1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lat Fil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ile Shar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4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atabase access</a:t>
            </a:r>
          </a:p>
          <a:p>
            <a:pPr>
              <a:buFontTx/>
              <a:buChar char="-"/>
            </a:pPr>
            <a:endParaRPr lang="en-US" sz="1400" dirty="0"/>
          </a:p>
          <a:p>
            <a:pPr marL="177800" lvl="1" indent="0">
              <a:buNone/>
            </a:pPr>
            <a:endParaRPr lang="en-US" kern="1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0E11C2-54E4-E6E6-EC8B-3261022A9D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DAB61AD4-455F-4DE0-8A9C-F6BB3C31672D}" type="datetime1">
              <a:rPr lang="en-US" noProof="0" smtClean="0"/>
              <a:t>3/9/2025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68288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1524001" y="857251"/>
            <a:ext cx="119063" cy="11906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85800">
              <a:lnSpc>
                <a:spcPct val="110000"/>
              </a:lnSpc>
              <a:defRPr/>
            </a:pPr>
            <a:endParaRPr lang="en-US" sz="120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924" y="392024"/>
            <a:ext cx="4958616" cy="629765"/>
          </a:xfrm>
        </p:spPr>
        <p:txBody>
          <a:bodyPr vert="horz" anchor="t"/>
          <a:lstStyle/>
          <a:p>
            <a:r>
              <a:rPr lang="en-US" dirty="0"/>
              <a:t>Project S/4 HANA US &amp; Mexico – Scoping </a:t>
            </a:r>
            <a:br>
              <a:rPr lang="en-US" dirty="0"/>
            </a:br>
            <a:r>
              <a:rPr lang="en-GB" b="0" dirty="0">
                <a:solidFill>
                  <a:schemeClr val="tx2"/>
                </a:solidFill>
              </a:rPr>
              <a:t>Satellites in scope</a:t>
            </a:r>
            <a:br>
              <a:rPr lang="en-US" sz="1600" dirty="0">
                <a:solidFill>
                  <a:schemeClr val="accent5"/>
                </a:solidFill>
              </a:rPr>
            </a:br>
            <a:endParaRPr lang="en-US" sz="1600" dirty="0">
              <a:solidFill>
                <a:schemeClr val="accent5"/>
              </a:solidFill>
            </a:endParaRPr>
          </a:p>
        </p:txBody>
      </p:sp>
      <p:graphicFrame>
        <p:nvGraphicFramePr>
          <p:cNvPr id="53" name="Table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6088070"/>
              </p:ext>
            </p:extLst>
          </p:nvPr>
        </p:nvGraphicFramePr>
        <p:xfrm>
          <a:off x="1137051" y="1578429"/>
          <a:ext cx="9890625" cy="4887547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457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16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1619">
                  <a:extLst>
                    <a:ext uri="{9D8B030D-6E8A-4147-A177-3AD203B41FA5}">
                      <a16:colId xmlns:a16="http://schemas.microsoft.com/office/drawing/2014/main" val="993774665"/>
                    </a:ext>
                  </a:extLst>
                </a:gridCol>
                <a:gridCol w="471619">
                  <a:extLst>
                    <a:ext uri="{9D8B030D-6E8A-4147-A177-3AD203B41FA5}">
                      <a16:colId xmlns:a16="http://schemas.microsoft.com/office/drawing/2014/main" val="1793715819"/>
                    </a:ext>
                  </a:extLst>
                </a:gridCol>
                <a:gridCol w="471619">
                  <a:extLst>
                    <a:ext uri="{9D8B030D-6E8A-4147-A177-3AD203B41FA5}">
                      <a16:colId xmlns:a16="http://schemas.microsoft.com/office/drawing/2014/main" val="1807576910"/>
                    </a:ext>
                  </a:extLst>
                </a:gridCol>
                <a:gridCol w="471619">
                  <a:extLst>
                    <a:ext uri="{9D8B030D-6E8A-4147-A177-3AD203B41FA5}">
                      <a16:colId xmlns:a16="http://schemas.microsoft.com/office/drawing/2014/main" val="2882730062"/>
                    </a:ext>
                  </a:extLst>
                </a:gridCol>
                <a:gridCol w="471619">
                  <a:extLst>
                    <a:ext uri="{9D8B030D-6E8A-4147-A177-3AD203B41FA5}">
                      <a16:colId xmlns:a16="http://schemas.microsoft.com/office/drawing/2014/main" val="2139459935"/>
                    </a:ext>
                  </a:extLst>
                </a:gridCol>
                <a:gridCol w="471619">
                  <a:extLst>
                    <a:ext uri="{9D8B030D-6E8A-4147-A177-3AD203B41FA5}">
                      <a16:colId xmlns:a16="http://schemas.microsoft.com/office/drawing/2014/main" val="2020469573"/>
                    </a:ext>
                  </a:extLst>
                </a:gridCol>
                <a:gridCol w="471619">
                  <a:extLst>
                    <a:ext uri="{9D8B030D-6E8A-4147-A177-3AD203B41FA5}">
                      <a16:colId xmlns:a16="http://schemas.microsoft.com/office/drawing/2014/main" val="2597444601"/>
                    </a:ext>
                  </a:extLst>
                </a:gridCol>
                <a:gridCol w="471619">
                  <a:extLst>
                    <a:ext uri="{9D8B030D-6E8A-4147-A177-3AD203B41FA5}">
                      <a16:colId xmlns:a16="http://schemas.microsoft.com/office/drawing/2014/main" val="3488909945"/>
                    </a:ext>
                  </a:extLst>
                </a:gridCol>
                <a:gridCol w="471619">
                  <a:extLst>
                    <a:ext uri="{9D8B030D-6E8A-4147-A177-3AD203B41FA5}">
                      <a16:colId xmlns:a16="http://schemas.microsoft.com/office/drawing/2014/main" val="4094803380"/>
                    </a:ext>
                  </a:extLst>
                </a:gridCol>
                <a:gridCol w="471619">
                  <a:extLst>
                    <a:ext uri="{9D8B030D-6E8A-4147-A177-3AD203B41FA5}">
                      <a16:colId xmlns:a16="http://schemas.microsoft.com/office/drawing/2014/main" val="863825660"/>
                    </a:ext>
                  </a:extLst>
                </a:gridCol>
                <a:gridCol w="471619">
                  <a:extLst>
                    <a:ext uri="{9D8B030D-6E8A-4147-A177-3AD203B41FA5}">
                      <a16:colId xmlns:a16="http://schemas.microsoft.com/office/drawing/2014/main" val="4100123707"/>
                    </a:ext>
                  </a:extLst>
                </a:gridCol>
                <a:gridCol w="471619">
                  <a:extLst>
                    <a:ext uri="{9D8B030D-6E8A-4147-A177-3AD203B41FA5}">
                      <a16:colId xmlns:a16="http://schemas.microsoft.com/office/drawing/2014/main" val="2773183210"/>
                    </a:ext>
                  </a:extLst>
                </a:gridCol>
                <a:gridCol w="471619">
                  <a:extLst>
                    <a:ext uri="{9D8B030D-6E8A-4147-A177-3AD203B41FA5}">
                      <a16:colId xmlns:a16="http://schemas.microsoft.com/office/drawing/2014/main" val="3378861757"/>
                    </a:ext>
                  </a:extLst>
                </a:gridCol>
                <a:gridCol w="471619">
                  <a:extLst>
                    <a:ext uri="{9D8B030D-6E8A-4147-A177-3AD203B41FA5}">
                      <a16:colId xmlns:a16="http://schemas.microsoft.com/office/drawing/2014/main" val="887676147"/>
                    </a:ext>
                  </a:extLst>
                </a:gridCol>
                <a:gridCol w="471619">
                  <a:extLst>
                    <a:ext uri="{9D8B030D-6E8A-4147-A177-3AD203B41FA5}">
                      <a16:colId xmlns:a16="http://schemas.microsoft.com/office/drawing/2014/main" val="4219616146"/>
                    </a:ext>
                  </a:extLst>
                </a:gridCol>
                <a:gridCol w="471619">
                  <a:extLst>
                    <a:ext uri="{9D8B030D-6E8A-4147-A177-3AD203B41FA5}">
                      <a16:colId xmlns:a16="http://schemas.microsoft.com/office/drawing/2014/main" val="2063091731"/>
                    </a:ext>
                  </a:extLst>
                </a:gridCol>
                <a:gridCol w="471619">
                  <a:extLst>
                    <a:ext uri="{9D8B030D-6E8A-4147-A177-3AD203B41FA5}">
                      <a16:colId xmlns:a16="http://schemas.microsoft.com/office/drawing/2014/main" val="3702119239"/>
                    </a:ext>
                  </a:extLst>
                </a:gridCol>
                <a:gridCol w="471619">
                  <a:extLst>
                    <a:ext uri="{9D8B030D-6E8A-4147-A177-3AD203B41FA5}">
                      <a16:colId xmlns:a16="http://schemas.microsoft.com/office/drawing/2014/main" val="384557721"/>
                    </a:ext>
                  </a:extLst>
                </a:gridCol>
                <a:gridCol w="472008">
                  <a:extLst>
                    <a:ext uri="{9D8B030D-6E8A-4147-A177-3AD203B41FA5}">
                      <a16:colId xmlns:a16="http://schemas.microsoft.com/office/drawing/2014/main" val="596173581"/>
                    </a:ext>
                  </a:extLst>
                </a:gridCol>
              </a:tblGrid>
              <a:tr h="5678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untry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55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S/Mex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S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X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S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S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S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X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S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S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S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S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S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S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S/Mex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X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S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S/Mex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S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S/Mex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S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8976474"/>
                  </a:ext>
                </a:extLst>
              </a:tr>
              <a:tr h="15087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atellite</a:t>
                      </a:r>
                      <a:r>
                        <a:rPr lang="en-US" sz="800" b="1" baseline="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Owner(s)</a:t>
                      </a: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559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n-lt"/>
                          <a:cs typeface="Arial"/>
                        </a:rPr>
                        <a:t>Alastair</a:t>
                      </a:r>
                      <a:r>
                        <a:rPr lang="en-US" sz="1000" b="1" i="0" dirty="0">
                          <a:effectLst/>
                          <a:highlight>
                            <a:srgbClr val="C0C0C0"/>
                          </a:highlight>
                          <a:latin typeface="+mn-lt"/>
                        </a:rPr>
                        <a:t> </a:t>
                      </a:r>
                      <a:r>
                        <a:rPr lang="en-US" sz="1000" b="1" dirty="0" err="1">
                          <a:latin typeface="+mn-lt"/>
                          <a:cs typeface="Arial"/>
                        </a:rPr>
                        <a:t>Kerswell</a:t>
                      </a:r>
                      <a:r>
                        <a:rPr lang="en-US" sz="1000" b="1" dirty="0">
                          <a:latin typeface="+mn-lt"/>
                          <a:cs typeface="Arial"/>
                        </a:rPr>
                        <a:t> </a:t>
                      </a:r>
                    </a:p>
                    <a:p>
                      <a:pPr algn="ctr"/>
                      <a:r>
                        <a:rPr lang="en-US" sz="1000" b="1" dirty="0" err="1">
                          <a:latin typeface="+mn-lt"/>
                          <a:cs typeface="Arial"/>
                        </a:rPr>
                        <a:t>Mritunjay</a:t>
                      </a:r>
                      <a:r>
                        <a:rPr lang="en-US" sz="1000" b="1" dirty="0">
                          <a:latin typeface="+mn-lt"/>
                          <a:cs typeface="Arial"/>
                        </a:rPr>
                        <a:t> Kumar Saw</a:t>
                      </a:r>
                      <a:endParaRPr lang="en-US" sz="1000" b="1" dirty="0">
                        <a:solidFill>
                          <a:srgbClr val="000000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Stuart Boyd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Stuart Boyd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+mn-lt"/>
                          <a:cs typeface="Arial"/>
                        </a:rPr>
                        <a:t>Jürgen Mohr</a:t>
                      </a:r>
                    </a:p>
                    <a:p>
                      <a:pPr algn="ctr"/>
                      <a:r>
                        <a:rPr lang="it-IT" sz="1000" b="1" dirty="0">
                          <a:latin typeface="+mn-lt"/>
                          <a:cs typeface="Arial"/>
                        </a:rPr>
                        <a:t>Mala Mani</a:t>
                      </a:r>
                    </a:p>
                    <a:p>
                      <a:pPr algn="ctr"/>
                      <a:r>
                        <a:rPr lang="it-IT" sz="1000" b="1" dirty="0">
                          <a:latin typeface="+mn-lt"/>
                          <a:cs typeface="Arial"/>
                        </a:rPr>
                        <a:t>Catherine Alberni </a:t>
                      </a:r>
                      <a:endParaRPr lang="en-US" sz="1000" b="1" dirty="0">
                        <a:latin typeface="+mn-lt"/>
                        <a:cs typeface="Arial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Stuart</a:t>
                      </a:r>
                      <a:r>
                        <a:rPr lang="en-US" sz="10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00" b="1" dirty="0">
                          <a:latin typeface="+mn-lt"/>
                          <a:cs typeface="Arial"/>
                        </a:rPr>
                        <a:t>Boyd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SRM Team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SRM Team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Sunil N </a:t>
                      </a:r>
                      <a:r>
                        <a:rPr lang="en-US" sz="1000" b="1" dirty="0" err="1">
                          <a:latin typeface="+mn-lt"/>
                          <a:cs typeface="Arial"/>
                        </a:rPr>
                        <a:t>Subeydhi</a:t>
                      </a:r>
                      <a:r>
                        <a:rPr lang="en-US" sz="1000" b="1" dirty="0">
                          <a:latin typeface="+mn-lt"/>
                          <a:cs typeface="Arial"/>
                        </a:rPr>
                        <a:t> 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</a:rPr>
                        <a:t>Kevin Schmalz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Nathusingh Rathod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Vendor support</a:t>
                      </a:r>
                      <a:endParaRPr lang="en-US" sz="1000" b="1" dirty="0">
                        <a:solidFill>
                          <a:srgbClr val="000000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</a:rPr>
                        <a:t>Brendan Farthing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1" dirty="0">
                          <a:latin typeface="+mn-lt"/>
                          <a:cs typeface="Arial"/>
                        </a:rPr>
                        <a:t>Armin</a:t>
                      </a:r>
                      <a:r>
                        <a:rPr lang="de-DE" sz="10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000" b="1" dirty="0">
                          <a:latin typeface="+mn-lt"/>
                          <a:cs typeface="Arial"/>
                        </a:rPr>
                        <a:t>Pfeiffer</a:t>
                      </a:r>
                      <a:r>
                        <a:rPr lang="de-DE" sz="10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/>
                      <a:r>
                        <a:rPr lang="de-DE" sz="1000" b="1" dirty="0">
                          <a:latin typeface="+mn-lt"/>
                          <a:cs typeface="Arial"/>
                        </a:rPr>
                        <a:t>Martin</a:t>
                      </a:r>
                      <a:r>
                        <a:rPr lang="de-DE" sz="10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000" b="1" dirty="0">
                          <a:latin typeface="+mn-lt"/>
                          <a:cs typeface="Arial"/>
                        </a:rPr>
                        <a:t>Gall</a:t>
                      </a:r>
                      <a:endParaRPr lang="en-US" sz="1000" b="1" dirty="0">
                        <a:solidFill>
                          <a:srgbClr val="000000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</a:rPr>
                        <a:t>Jim </a:t>
                      </a:r>
                      <a:r>
                        <a:rPr lang="en-US" sz="1000" b="1" dirty="0" err="1">
                          <a:latin typeface="+mn-lt"/>
                        </a:rPr>
                        <a:t>Hardenbrook</a:t>
                      </a:r>
                      <a:r>
                        <a:rPr lang="en-US" sz="1000" b="1" dirty="0">
                          <a:latin typeface="+mn-lt"/>
                        </a:rPr>
                        <a:t> 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n-lt"/>
                        </a:rPr>
                        <a:t>Anders N Eriksson</a:t>
                      </a:r>
                    </a:p>
                    <a:p>
                      <a:pPr algn="ctr"/>
                      <a:r>
                        <a:rPr lang="en-US" sz="1000" b="1" dirty="0">
                          <a:latin typeface="+mn-lt"/>
                        </a:rPr>
                        <a:t>Stuart Boyd</a:t>
                      </a:r>
                      <a:endParaRPr lang="en-US" sz="1000" b="1" dirty="0">
                        <a:solidFill>
                          <a:srgbClr val="000000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uan Romero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</a:rPr>
                        <a:t>Nathusingh Rathod 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n-lt"/>
                        </a:rPr>
                        <a:t>Shweta Chaudhary</a:t>
                      </a:r>
                    </a:p>
                    <a:p>
                      <a:pPr algn="ctr"/>
                      <a:r>
                        <a:rPr lang="en-US" sz="1000" b="1" dirty="0">
                          <a:latin typeface="+mn-lt"/>
                        </a:rPr>
                        <a:t>Balaji </a:t>
                      </a:r>
                      <a:r>
                        <a:rPr lang="en-US" sz="1000" b="1" dirty="0" err="1">
                          <a:latin typeface="+mn-lt"/>
                        </a:rPr>
                        <a:t>Soundarrajan</a:t>
                      </a:r>
                      <a:endParaRPr lang="en-US" sz="1000" b="1" dirty="0">
                        <a:solidFill>
                          <a:srgbClr val="000000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n-lt"/>
                        </a:rPr>
                        <a:t>Peter Casazza</a:t>
                      </a:r>
                    </a:p>
                    <a:p>
                      <a:pPr algn="ctr"/>
                      <a:r>
                        <a:rPr lang="en-US" sz="1000" b="1" dirty="0">
                          <a:latin typeface="+mn-lt"/>
                        </a:rPr>
                        <a:t>Patricia Clarke </a:t>
                      </a:r>
                    </a:p>
                    <a:p>
                      <a:pPr algn="ctr"/>
                      <a:r>
                        <a:rPr lang="en-US" sz="1000" b="1" dirty="0">
                          <a:latin typeface="+mn-lt"/>
                        </a:rPr>
                        <a:t>Lisa </a:t>
                      </a:r>
                      <a:r>
                        <a:rPr lang="en-US" sz="1000" b="1" dirty="0" err="1">
                          <a:latin typeface="+mn-lt"/>
                        </a:rPr>
                        <a:t>Moralez</a:t>
                      </a:r>
                      <a:endParaRPr lang="en-US" sz="1000" b="1" dirty="0">
                        <a:solidFill>
                          <a:srgbClr val="000000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1" dirty="0">
                          <a:latin typeface="+mn-lt"/>
                          <a:cs typeface="Arial"/>
                        </a:rPr>
                        <a:t>Peter Kerschl </a:t>
                      </a:r>
                    </a:p>
                    <a:p>
                      <a:pPr algn="ctr"/>
                      <a:r>
                        <a:rPr lang="de-DE" sz="1000" b="1" dirty="0">
                          <a:latin typeface="+mn-lt"/>
                          <a:cs typeface="Arial"/>
                        </a:rPr>
                        <a:t>Tomas Boldizar</a:t>
                      </a:r>
                      <a:endParaRPr lang="en-US" sz="1000" b="1" strike="sngStrike" dirty="0">
                        <a:latin typeface="+mn-lt"/>
                        <a:cs typeface="Arial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</a:rPr>
                        <a:t>Mark Mezera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9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4608531"/>
                  </a:ext>
                </a:extLst>
              </a:tr>
              <a:tr h="15087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atellite</a:t>
                      </a:r>
                      <a:r>
                        <a:rPr lang="en-US" sz="800" b="1" baseline="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applications</a:t>
                      </a: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55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Archive:</a:t>
                      </a:r>
                      <a:r>
                        <a:rPr lang="en-US" sz="1000" b="1" i="0" dirty="0">
                          <a:effectLst/>
                          <a:highlight>
                            <a:srgbClr val="C0C0C0"/>
                          </a:highlight>
                          <a:latin typeface="+mn-lt"/>
                        </a:rPr>
                        <a:t> </a:t>
                      </a:r>
                      <a:r>
                        <a:rPr lang="en-US" sz="1000" b="1" dirty="0">
                          <a:latin typeface="+mn-lt"/>
                          <a:cs typeface="Arial"/>
                        </a:rPr>
                        <a:t>IXOS/</a:t>
                      </a:r>
                      <a:r>
                        <a:rPr lang="en-US" sz="1000" b="1" dirty="0" err="1">
                          <a:latin typeface="+mn-lt"/>
                          <a:cs typeface="Arial"/>
                        </a:rPr>
                        <a:t>Opentext</a:t>
                      </a:r>
                      <a:endParaRPr lang="en-US" sz="1000" b="1" dirty="0">
                        <a:latin typeface="+mn-lt"/>
                        <a:cs typeface="Arial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Banking: BOA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Banking: JPM</a:t>
                      </a:r>
                      <a:endParaRPr lang="en-US" sz="1000" b="1" dirty="0">
                        <a:solidFill>
                          <a:srgbClr val="000000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Banking: CITI</a:t>
                      </a:r>
                      <a:endParaRPr lang="en-US" sz="1000" b="1" dirty="0">
                        <a:solidFill>
                          <a:srgbClr val="000000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W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Data</a:t>
                      </a:r>
                      <a:r>
                        <a:rPr lang="en-US" sz="10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00" b="1" dirty="0">
                          <a:latin typeface="+mn-lt"/>
                          <a:cs typeface="Arial"/>
                        </a:rPr>
                        <a:t>Warehouse</a:t>
                      </a:r>
                      <a:r>
                        <a:rPr lang="en-US" sz="10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00" b="1" dirty="0">
                          <a:latin typeface="+mn-lt"/>
                          <a:cs typeface="Arial"/>
                        </a:rPr>
                        <a:t>Extracts</a:t>
                      </a:r>
                      <a:r>
                        <a:rPr lang="en-US" sz="10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(FTP</a:t>
                      </a:r>
                      <a:r>
                        <a:rPr lang="en-US" sz="10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from </a:t>
                      </a:r>
                      <a:r>
                        <a:rPr lang="en-US" sz="1000" b="1" dirty="0">
                          <a:latin typeface="+mn-lt"/>
                          <a:cs typeface="Arial"/>
                        </a:rPr>
                        <a:t>SAP)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EDI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EDI: Grainer MX Orders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EDI: LGE Electronics Delivery Advice</a:t>
                      </a:r>
                      <a:endParaRPr lang="en-US" sz="1000" b="1" dirty="0">
                        <a:solidFill>
                          <a:srgbClr val="000000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</a:rPr>
                        <a:t>Evolve</a:t>
                      </a:r>
                      <a:endParaRPr lang="en-US" sz="1000" b="1" dirty="0">
                        <a:solidFill>
                          <a:srgbClr val="000000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Extreme</a:t>
                      </a:r>
                      <a:endParaRPr lang="en-US" sz="1000" b="1" dirty="0">
                        <a:solidFill>
                          <a:srgbClr val="000000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</a:rPr>
                        <a:t>Fiori BTP (Custom)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Global</a:t>
                      </a:r>
                      <a:r>
                        <a:rPr lang="en-US" sz="10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00" b="1" dirty="0">
                          <a:latin typeface="+mn-lt"/>
                          <a:cs typeface="Arial"/>
                        </a:rPr>
                        <a:t>Trade</a:t>
                      </a:r>
                      <a:r>
                        <a:rPr lang="en-US" sz="10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System</a:t>
                      </a:r>
                      <a:r>
                        <a:rPr lang="en-US" sz="10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00" b="1" dirty="0">
                          <a:latin typeface="+mn-lt"/>
                          <a:cs typeface="Arial"/>
                        </a:rPr>
                        <a:t>(GTS)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</a:rPr>
                        <a:t>Perceptive Content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 err="1">
                          <a:latin typeface="+mn-lt"/>
                        </a:rPr>
                        <a:t>Promethus</a:t>
                      </a:r>
                      <a:endParaRPr lang="en-US" sz="1000" b="1" dirty="0">
                        <a:solidFill>
                          <a:srgbClr val="000000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PA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</a:rPr>
                        <a:t>Spectra</a:t>
                      </a:r>
                      <a:endParaRPr lang="en-US" sz="1000" b="1" dirty="0">
                        <a:solidFill>
                          <a:srgbClr val="000000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</a:rPr>
                        <a:t>SRM</a:t>
                      </a:r>
                      <a:endParaRPr lang="en-US" sz="1000" b="1" dirty="0">
                        <a:solidFill>
                          <a:srgbClr val="000000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</a:rPr>
                        <a:t>TLIMS</a:t>
                      </a:r>
                      <a:endParaRPr lang="en-US" sz="1000" b="1" dirty="0">
                        <a:solidFill>
                          <a:srgbClr val="000000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Arial"/>
                        </a:rPr>
                        <a:t>UC4</a:t>
                      </a:r>
                      <a:endParaRPr lang="en-US" sz="1000" b="1" dirty="0">
                        <a:solidFill>
                          <a:srgbClr val="000000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</a:rPr>
                        <a:t>Vertex</a:t>
                      </a:r>
                      <a:endParaRPr lang="en-US" sz="1000" b="1" dirty="0">
                        <a:solidFill>
                          <a:srgbClr val="000000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9717399"/>
                  </a:ext>
                </a:extLst>
              </a:tr>
              <a:tr h="662091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erface</a:t>
                      </a: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5591"/>
                    </a:solidFill>
                  </a:tcPr>
                </a:tc>
                <a:tc gridSpan="20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AP PI/PO, RFC, FTP, Flat file, DB Access</a:t>
                      </a:r>
                    </a:p>
                  </a:txBody>
                  <a:tcPr marL="31361" marR="31361" marT="27000" marB="2700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1D3E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380079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re</a:t>
                      </a:r>
                      <a:r>
                        <a:rPr lang="en-US" sz="800" b="1" kern="1200" baseline="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systems</a:t>
                      </a:r>
                      <a:endParaRPr lang="en-US" sz="800" b="1" kern="1200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vert="vert27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5591"/>
                    </a:solidFill>
                  </a:tcPr>
                </a:tc>
                <a:tc gridSpan="20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Verdana"/>
                          <a:ea typeface="Verdana"/>
                          <a:cs typeface="Verdana" panose="020B0604030504040204" pitchFamily="34" charset="0"/>
                        </a:rPr>
                        <a:t>SAP S/4 HANA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1361" marR="31361" marT="27000" marB="2700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3B1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25711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74241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0D18BE-0167-093F-1D83-4A7DDB46B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-MX HANA Satellites Overview</a:t>
            </a:r>
            <a:br>
              <a:rPr lang="en-US" dirty="0"/>
            </a:br>
            <a:r>
              <a:rPr lang="en-GB" b="0" dirty="0">
                <a:solidFill>
                  <a:schemeClr val="tx2"/>
                </a:solidFill>
              </a:rPr>
              <a:t>Master Li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E8FB93-C094-3FC2-3B08-9F96839A09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3" y="1484315"/>
            <a:ext cx="10998198" cy="524959"/>
          </a:xfrm>
        </p:spPr>
        <p:txBody>
          <a:bodyPr/>
          <a:lstStyle/>
          <a:p>
            <a:pPr marL="0" indent="0">
              <a:buNone/>
            </a:pPr>
            <a:r>
              <a:rPr kumimoji="0" lang="en-US" altLang="en-US" sz="160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Refer to the </a:t>
            </a:r>
            <a:r>
              <a:rPr lang="en-US" altLang="en-US" sz="1600">
                <a:latin typeface="+mj-lt"/>
                <a:hlinkClick r:id="rId2"/>
              </a:rPr>
              <a:t>RNA_interface</a:t>
            </a:r>
            <a:r>
              <a:rPr lang="en-US" altLang="en-US" sz="1600" dirty="0">
                <a:latin typeface="+mj-lt"/>
                <a:hlinkClick r:id="rId2"/>
              </a:rPr>
              <a:t> list.xlsx</a:t>
            </a:r>
            <a:r>
              <a:rPr lang="en-US" altLang="en-US" sz="1600" dirty="0">
                <a:latin typeface="+mj-lt"/>
              </a:rPr>
              <a:t> for </a:t>
            </a:r>
            <a:r>
              <a:rPr kumimoji="0" lang="en-US" altLang="en-US" sz="160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satellite information</a:t>
            </a:r>
          </a:p>
          <a:p>
            <a:endParaRPr lang="en-US" dirty="0">
              <a:latin typeface="+mj-lt"/>
            </a:endParaRPr>
          </a:p>
          <a:p>
            <a:endParaRPr lang="en-GB" sz="1600" dirty="0">
              <a:latin typeface="+mj-lt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D29D66-8884-DE08-AEBB-ED78654DA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DAB61AD4-455F-4DE0-8A9C-F6BB3C31672D}" type="datetime1">
              <a:rPr lang="en-US" noProof="0" smtClean="0"/>
              <a:t>3/9/2025</a:t>
            </a:fld>
            <a:endParaRPr lang="en-GB" noProof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1601B0B-E313-67A0-C055-9BDA64DC21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1798422"/>
            <a:ext cx="10165080" cy="468695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6378A84-94C6-E30C-640D-6A088ADD6C84}"/>
              </a:ext>
            </a:extLst>
          </p:cNvPr>
          <p:cNvSpPr txBox="1"/>
          <p:nvPr/>
        </p:nvSpPr>
        <p:spPr>
          <a:xfrm>
            <a:off x="5492475" y="388487"/>
            <a:ext cx="3579558" cy="612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009A46"/>
                </a:solidFill>
                <a:latin typeface="+mn-lt"/>
                <a:ea typeface="Verdana"/>
                <a:cs typeface="Verdana" panose="020B0604030504040204" pitchFamily="34" charset="0"/>
              </a:rPr>
              <a:t>Sample only shown here, </a:t>
            </a:r>
          </a:p>
          <a:p>
            <a:r>
              <a:rPr lang="en-US" sz="1600" dirty="0">
                <a:solidFill>
                  <a:srgbClr val="009A46"/>
                </a:solidFill>
                <a:latin typeface="+mn-lt"/>
                <a:ea typeface="Verdana"/>
                <a:cs typeface="Verdana" panose="020B0604030504040204" pitchFamily="34" charset="0"/>
              </a:rPr>
              <a:t>exhaustive list stored in link referenced</a:t>
            </a:r>
            <a:endParaRPr lang="en-DE" dirty="0">
              <a:solidFill>
                <a:srgbClr val="009A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6206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2B7C8D-DE99-F44C-B8B4-F407EE8451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501" y="152403"/>
            <a:ext cx="8881532" cy="1023937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US-MX HANA Satellites Overview</a:t>
            </a:r>
            <a:br>
              <a:rPr lang="en-US" dirty="0"/>
            </a:br>
            <a:r>
              <a:rPr lang="en-US" b="0" dirty="0">
                <a:solidFill>
                  <a:schemeClr val="tx2"/>
                </a:solidFill>
              </a:rPr>
              <a:t>Considerations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65F840-121C-B523-3E57-4BDD5F4B47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2" y="1484315"/>
            <a:ext cx="11328399" cy="4897437"/>
          </a:xfrm>
        </p:spPr>
        <p:txBody>
          <a:bodyPr wrap="square" anchor="t">
            <a:normAutofit/>
          </a:bodyPr>
          <a:lstStyle/>
          <a:p>
            <a:pPr marL="457200" marR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kern="100" dirty="0">
                <a:effectLst/>
              </a:rPr>
              <a:t>Information needed for the satellites</a:t>
            </a:r>
          </a:p>
          <a:p>
            <a:pPr marL="1143000" marR="0" lvl="2" indent="-2286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kern="100" dirty="0">
                <a:effectLst/>
              </a:rPr>
              <a:t>Identify the satellites that are in use</a:t>
            </a:r>
          </a:p>
          <a:p>
            <a:pPr marL="1143000" lvl="2" indent="-2286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kern="100" dirty="0">
                <a:effectLst/>
              </a:rPr>
              <a:t>Identify the type, technical or functional </a:t>
            </a:r>
          </a:p>
          <a:p>
            <a:pPr marL="1143000" marR="0" lvl="2" indent="-2286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kern="100" dirty="0">
                <a:effectLst/>
              </a:rPr>
              <a:t>Identify the satellites that are in scope with each phase of testing</a:t>
            </a:r>
          </a:p>
          <a:p>
            <a:pPr marL="1143000" marR="0" lvl="2" indent="-2286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kern="100" dirty="0">
                <a:effectLst/>
              </a:rPr>
              <a:t>Identify key individuals</a:t>
            </a:r>
          </a:p>
          <a:p>
            <a:pPr marL="1377950" lvl="3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kern="100" dirty="0">
                <a:effectLst/>
              </a:rPr>
              <a:t>Functional Expert(s)/</a:t>
            </a:r>
            <a:r>
              <a:rPr lang="en-US" kern="100" dirty="0"/>
              <a:t>Technical Expert(s)/</a:t>
            </a:r>
            <a:r>
              <a:rPr lang="en-US" kern="100" dirty="0">
                <a:effectLst/>
              </a:rPr>
              <a:t>Business owner/</a:t>
            </a:r>
            <a:r>
              <a:rPr lang="en-US" kern="100" dirty="0"/>
              <a:t>Expert User(s)</a:t>
            </a:r>
            <a:endParaRPr lang="en-US" kern="100" dirty="0">
              <a:effectLst/>
            </a:endParaRPr>
          </a:p>
          <a:p>
            <a:pPr marL="1143000" marR="0" lvl="2" indent="-2286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kern="100" dirty="0">
                <a:effectLst/>
              </a:rPr>
              <a:t>Resources required to connect</a:t>
            </a:r>
          </a:p>
          <a:p>
            <a:pPr marL="1377950" lvl="3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kern="100" dirty="0"/>
              <a:t>Technical Accounts</a:t>
            </a:r>
          </a:p>
          <a:p>
            <a:pPr marL="1377950" lvl="3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kern="100" dirty="0">
                <a:effectLst/>
              </a:rPr>
              <a:t>End User Accounts</a:t>
            </a:r>
          </a:p>
          <a:p>
            <a:pPr marL="1377950" lvl="3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kern="100" dirty="0"/>
              <a:t>File Shares</a:t>
            </a:r>
          </a:p>
          <a:p>
            <a:pPr marL="1377950" lvl="3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kern="100" dirty="0"/>
              <a:t>Software Packages</a:t>
            </a:r>
          </a:p>
          <a:p>
            <a:pPr marL="1143000" lvl="2" indent="-2286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kern="100" dirty="0">
                <a:effectLst/>
              </a:rPr>
              <a:t>Platform capability:</a:t>
            </a:r>
          </a:p>
          <a:p>
            <a:pPr marL="1377950" lvl="3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kern="100" dirty="0">
                <a:effectLst/>
              </a:rPr>
              <a:t>Compatibility - does it support S/4? Will it support S/4? Do we need to upgrade or install a package to make it compatible?</a:t>
            </a:r>
          </a:p>
          <a:p>
            <a:pPr marL="1377950" lvl="3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kern="100" dirty="0"/>
              <a:t>Licensing - can it connect to additional systems?</a:t>
            </a:r>
          </a:p>
          <a:p>
            <a:pPr marL="1377950" lvl="3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kern="100" dirty="0">
                <a:effectLst/>
              </a:rPr>
              <a:t>Support – Do we have a support agreement with the vendor</a:t>
            </a:r>
            <a:endParaRPr lang="en-GB" kern="100" dirty="0">
              <a:effectLst/>
            </a:endParaRPr>
          </a:p>
          <a:p>
            <a:pPr marL="1377950" lvl="3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kern="100" dirty="0"/>
              <a:t>Capability – Can it connect to multiple systems at once or will we need to switch during testing</a:t>
            </a:r>
          </a:p>
          <a:p>
            <a:pPr marL="1143000" lvl="2" indent="-2286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kern="100" dirty="0">
                <a:effectLst/>
              </a:rPr>
              <a:t>Documented processes to connect, configure and test</a:t>
            </a:r>
          </a:p>
          <a:p>
            <a:endParaRPr lang="en-US" dirty="0"/>
          </a:p>
        </p:txBody>
      </p:sp>
      <p:sp>
        <p:nvSpPr>
          <p:cNvPr id="37" name="Date Placeholder 3">
            <a:extLst>
              <a:ext uri="{FF2B5EF4-FFF2-40B4-BE49-F238E27FC236}">
                <a16:creationId xmlns:a16="http://schemas.microsoft.com/office/drawing/2014/main" id="{44280F98-72C8-182A-0EC7-14E03A20955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1799" y="6453336"/>
            <a:ext cx="960000" cy="252264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600"/>
              </a:spcAft>
            </a:pPr>
            <a:fld id="{DAB61AD4-455F-4DE0-8A9C-F6BB3C31672D}" type="datetime1">
              <a:rPr lang="en-US" noProof="0" smtClean="0"/>
              <a:pPr>
                <a:lnSpc>
                  <a:spcPct val="100000"/>
                </a:lnSpc>
                <a:spcAft>
                  <a:spcPts val="600"/>
                </a:spcAft>
              </a:pPr>
              <a:t>3/9/2025</a:t>
            </a:fld>
            <a:endParaRPr lang="en-GB" noProof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E49C3AB7-A89C-CF1B-466B-B6DCBAD1FE20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431799" y="6453336"/>
            <a:ext cx="960000" cy="252264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600"/>
              </a:spcAft>
            </a:pPr>
            <a:fld id="{DAB61AD4-455F-4DE0-8A9C-F6BB3C31672D}" type="datetime1">
              <a:rPr lang="en-US" noProof="0" smtClean="0"/>
              <a:pPr>
                <a:lnSpc>
                  <a:spcPct val="100000"/>
                </a:lnSpc>
                <a:spcAft>
                  <a:spcPts val="600"/>
                </a:spcAft>
              </a:pPr>
              <a:t>3/9/2025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269053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75714B-BFDA-FB52-8009-84011583C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501" y="152403"/>
            <a:ext cx="8881532" cy="1023937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US-MX HANA Satellites Overview</a:t>
            </a:r>
            <a:br>
              <a:rPr lang="en-US" dirty="0"/>
            </a:br>
            <a:r>
              <a:rPr lang="en-US" b="0" dirty="0">
                <a:solidFill>
                  <a:schemeClr val="tx2"/>
                </a:solidFill>
              </a:rPr>
              <a:t>Environments/Test Phases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7D9F2A4-CF82-B79D-AD5D-465D89A83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8" y="1176340"/>
            <a:ext cx="9792576" cy="5411660"/>
          </a:xfrm>
        </p:spPr>
        <p:txBody>
          <a:bodyPr wrap="square" anchor="t"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endParaRPr lang="en-GB" sz="1200" b="1" dirty="0"/>
          </a:p>
          <a:p>
            <a:pPr marL="0" indent="0">
              <a:lnSpc>
                <a:spcPct val="100000"/>
              </a:lnSpc>
              <a:buNone/>
            </a:pPr>
            <a:endParaRPr lang="en-GB" sz="1200" b="1" dirty="0"/>
          </a:p>
          <a:p>
            <a:pPr>
              <a:lnSpc>
                <a:spcPct val="100000"/>
              </a:lnSpc>
            </a:pPr>
            <a:endParaRPr lang="en-GB" sz="12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A08773-034F-8A41-F02E-527F2D058E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1799" y="6453336"/>
            <a:ext cx="960000" cy="252264"/>
          </a:xfrm>
        </p:spPr>
        <p:txBody>
          <a:bodyPr wrap="square" anchor="b">
            <a:normAutofit/>
          </a:bodyPr>
          <a:lstStyle/>
          <a:p>
            <a:pPr>
              <a:spcAft>
                <a:spcPts val="600"/>
              </a:spcAft>
            </a:pPr>
            <a:fld id="{DAB61AD4-455F-4DE0-8A9C-F6BB3C31672D}" type="datetime1">
              <a:rPr lang="en-US" noProof="0" smtClean="0"/>
              <a:pPr>
                <a:spcAft>
                  <a:spcPts val="600"/>
                </a:spcAft>
              </a:pPr>
              <a:t>3/9/2025</a:t>
            </a:fld>
            <a:endParaRPr lang="en-GB" noProof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0876D60-4BA3-1A0F-E7B1-09EB89B2196F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50012" y="1374530"/>
            <a:ext cx="9356148" cy="4880615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GB" sz="1400" b="1" dirty="0"/>
              <a:t>Shell Testing on Development S/4 environment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400" dirty="0"/>
              <a:t>Subset of satellites connected </a:t>
            </a:r>
            <a:r>
              <a:rPr lang="en-GB" sz="1400" dirty="0">
                <a:ea typeface="+mn-ea"/>
                <a:cs typeface="+mn-cs"/>
              </a:rPr>
              <a:t>to the permanent development S/4 client. 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400" dirty="0"/>
              <a:t>Very limited data, short test period. 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400" dirty="0"/>
              <a:t>This is to confirm the system is  setup correctly, that the core business processes are working and  that the satellite applications are connected and able to interface with S/4 HANA. 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400" dirty="0"/>
              <a:t>Testing owned by Corp IT, supported by regions</a:t>
            </a:r>
          </a:p>
          <a:p>
            <a:pPr marL="0" indent="0">
              <a:lnSpc>
                <a:spcPct val="100000"/>
              </a:lnSpc>
              <a:buNone/>
            </a:pPr>
            <a:endParaRPr lang="en-GB" sz="1400" dirty="0"/>
          </a:p>
          <a:p>
            <a:pPr marL="0" indent="0">
              <a:lnSpc>
                <a:spcPct val="100000"/>
              </a:lnSpc>
              <a:buNone/>
            </a:pPr>
            <a:r>
              <a:rPr lang="en-GB" sz="1400" b="1" dirty="0"/>
              <a:t>FUT – Functional Unit Testing on Development S/4 environment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400" dirty="0">
                <a:ea typeface="+mn-ea"/>
                <a:cs typeface="+mn-cs"/>
              </a:rPr>
              <a:t>Satellites connected to the permanent development S/4 client.  Limited data, longer test period. 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400" dirty="0">
                <a:ea typeface="+mn-ea"/>
                <a:cs typeface="+mn-cs"/>
              </a:rPr>
              <a:t>Unit test the subset of satellites connected. Test the individual system components. Identify and fix fundamental issues.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400" dirty="0"/>
              <a:t>Testing by Regional IT - Functional, supported by Regional Technical and Corp IT - Functional/Technical teams</a:t>
            </a:r>
          </a:p>
          <a:p>
            <a:pPr marL="184150" lvl="1" indent="0">
              <a:lnSpc>
                <a:spcPct val="100000"/>
              </a:lnSpc>
              <a:buNone/>
            </a:pPr>
            <a:endParaRPr lang="en-GB" sz="1400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LindeDaxPowerPoint" pitchFamily="34" charset="0"/>
              <a:buNone/>
              <a:tabLst>
                <a:tab pos="177800" algn="l"/>
              </a:tabLst>
              <a:defRPr/>
            </a:pPr>
            <a:r>
              <a:rPr lang="en-GB" sz="1400" b="1" dirty="0"/>
              <a:t>TM0 Unit Testing – Functional Unit Testing on migrated TM0 environment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ea typeface="+mn-ea"/>
                <a:cs typeface="+mn-cs"/>
              </a:rPr>
              <a:t>First migration, data possibly not fully suitable for integration, with no satellites connected to </a:t>
            </a:r>
            <a:r>
              <a:rPr lang="en-GB" sz="1400" dirty="0"/>
              <a:t>temporary test S/4 client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ea typeface="+mn-ea"/>
                <a:cs typeface="+mn-cs"/>
              </a:rPr>
              <a:t>FUT testing with the first migrated data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400" dirty="0"/>
              <a:t>Testing</a:t>
            </a:r>
            <a:r>
              <a:rPr lang="en-GB" sz="1400" u="sng" dirty="0"/>
              <a:t> </a:t>
            </a:r>
            <a:r>
              <a:rPr lang="en-GB" sz="1400" dirty="0"/>
              <a:t>by Regional IT - Functional, supported by Regional Technical and Corp IT- Functional/ Technical teams</a:t>
            </a:r>
          </a:p>
        </p:txBody>
      </p:sp>
    </p:spTree>
    <p:extLst>
      <p:ext uri="{BB962C8B-B14F-4D97-AF65-F5344CB8AC3E}">
        <p14:creationId xmlns:p14="http://schemas.microsoft.com/office/powerpoint/2010/main" val="6517647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75714B-BFDA-FB52-8009-84011583C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501" y="152403"/>
            <a:ext cx="8881532" cy="1023937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US-MX HANA Satellites Overview</a:t>
            </a:r>
            <a:br>
              <a:rPr lang="en-US" dirty="0"/>
            </a:br>
            <a:r>
              <a:rPr lang="en-US" b="0" dirty="0">
                <a:solidFill>
                  <a:schemeClr val="tx2"/>
                </a:solidFill>
              </a:rPr>
              <a:t>Environments/Test Phases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7D9F2A4-CF82-B79D-AD5D-465D89A83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8" y="1176340"/>
            <a:ext cx="9792576" cy="5411660"/>
          </a:xfrm>
        </p:spPr>
        <p:txBody>
          <a:bodyPr wrap="square" anchor="t"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endParaRPr lang="en-GB" sz="1200" b="1" dirty="0"/>
          </a:p>
          <a:p>
            <a:pPr marL="0" indent="0">
              <a:lnSpc>
                <a:spcPct val="100000"/>
              </a:lnSpc>
              <a:buNone/>
            </a:pPr>
            <a:endParaRPr lang="en-GB" sz="1200" b="1" dirty="0"/>
          </a:p>
          <a:p>
            <a:pPr>
              <a:lnSpc>
                <a:spcPct val="100000"/>
              </a:lnSpc>
            </a:pPr>
            <a:endParaRPr lang="en-GB" sz="12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A08773-034F-8A41-F02E-527F2D058E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1799" y="6453336"/>
            <a:ext cx="960000" cy="252264"/>
          </a:xfrm>
        </p:spPr>
        <p:txBody>
          <a:bodyPr wrap="square" anchor="b">
            <a:normAutofit/>
          </a:bodyPr>
          <a:lstStyle/>
          <a:p>
            <a:pPr>
              <a:spcAft>
                <a:spcPts val="600"/>
              </a:spcAft>
            </a:pPr>
            <a:fld id="{DAB61AD4-455F-4DE0-8A9C-F6BB3C31672D}" type="datetime1">
              <a:rPr lang="en-US" noProof="0" smtClean="0"/>
              <a:pPr>
                <a:spcAft>
                  <a:spcPts val="600"/>
                </a:spcAft>
              </a:pPr>
              <a:t>3/9/2025</a:t>
            </a:fld>
            <a:endParaRPr lang="en-GB" noProof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0876D60-4BA3-1A0F-E7B1-09EB89B2196F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50012" y="1176340"/>
            <a:ext cx="9356148" cy="5159396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GB" sz="1400" b="1" dirty="0"/>
              <a:t>SIT  - Systems Integration Testing on migrated TM1 environment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400" dirty="0"/>
              <a:t>Satellites connected to a temporary quality S/4 client, copy of production data.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400" dirty="0"/>
              <a:t>Confirm all satellites, functional and end to end business process are working. 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400" dirty="0"/>
              <a:t>Testing by Regional IT - Functional, supported by Regional Technical and Corp IT - Functional/ Technical teams</a:t>
            </a:r>
          </a:p>
          <a:p>
            <a:pPr marL="64770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0" indent="0">
              <a:lnSpc>
                <a:spcPct val="100000"/>
              </a:lnSpc>
              <a:buNone/>
            </a:pPr>
            <a:r>
              <a:rPr lang="en-GB" sz="1400" b="1" dirty="0"/>
              <a:t>UAT – User Acceptance Testing on migrated TM2 environment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400" dirty="0"/>
              <a:t>Satellites connected to the permanent quality S/4 client , copy of production data.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altLang="en-US" sz="1400" b="0" kern="100" dirty="0">
                <a:solidFill>
                  <a:schemeClr val="tx1"/>
                </a:solidFill>
                <a:effectLst/>
                <a:latin typeface="+mn-lt"/>
                <a:ea typeface="Malgun Gothic" panose="020B0503020000020004" pitchFamily="34" charset="-127"/>
                <a:cs typeface="Times New Roman" panose="02020603050405020304" pitchFamily="18" charset="0"/>
              </a:rPr>
              <a:t>Verify </a:t>
            </a:r>
            <a:r>
              <a:rPr lang="en-GB" altLang="en-US" sz="1400" kern="100" dirty="0">
                <a:ea typeface="Malgun Gothic" panose="020B0503020000020004" pitchFamily="34" charset="-127"/>
                <a:cs typeface="Times New Roman" panose="02020603050405020304" pitchFamily="18" charset="0"/>
              </a:rPr>
              <a:t>all </a:t>
            </a:r>
            <a:r>
              <a:rPr lang="en-GB" altLang="en-US" sz="1400" b="0" kern="100" dirty="0">
                <a:solidFill>
                  <a:schemeClr val="tx1"/>
                </a:solidFill>
                <a:effectLst/>
                <a:latin typeface="+mn-lt"/>
                <a:ea typeface="Malgun Gothic" panose="020B0503020000020004" pitchFamily="34" charset="-127"/>
                <a:cs typeface="Times New Roman" panose="02020603050405020304" pitchFamily="18" charset="0"/>
              </a:rPr>
              <a:t>the end to end business processes are functioning according to specifications. </a:t>
            </a:r>
            <a:endParaRPr lang="en-GB" sz="1400" dirty="0"/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400" dirty="0"/>
              <a:t>Testing by Regional Business, supported by Regional and Corp IT - Functional / Technical teams</a:t>
            </a:r>
          </a:p>
          <a:p>
            <a:pPr marL="64770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0" indent="0">
              <a:lnSpc>
                <a:spcPct val="100000"/>
              </a:lnSpc>
              <a:buNone/>
            </a:pPr>
            <a:r>
              <a:rPr lang="en-GB" sz="1400" b="1" dirty="0"/>
              <a:t>GLS – Go Live Simulation on migrated GLS environment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400" dirty="0"/>
              <a:t>Some satellites connected to a temporary quality S/4 client , copy of production data. Health checks (only) 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400" dirty="0"/>
              <a:t>Checks by Regional IT - Functional, supported by Regional Technical and Corp IT - Functional/ Technical teams</a:t>
            </a:r>
          </a:p>
          <a:p>
            <a:pPr marL="64770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0" indent="0">
              <a:lnSpc>
                <a:spcPct val="100000"/>
              </a:lnSpc>
              <a:buNone/>
            </a:pPr>
            <a:r>
              <a:rPr lang="en-GB" sz="1400" b="1" dirty="0"/>
              <a:t>Cutover – Go Live on S/4 Production environment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400" dirty="0"/>
              <a:t>All satellites connected to the permanent production S/4 client , full production data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400" dirty="0"/>
              <a:t> Health checks (with selective tests) by Regional IT - Functional and possibly key business users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400" dirty="0"/>
              <a:t> Supported by Regional Technical and Corp IT - Functional/ Technical teams</a:t>
            </a:r>
          </a:p>
        </p:txBody>
      </p:sp>
    </p:spTree>
    <p:extLst>
      <p:ext uri="{BB962C8B-B14F-4D97-AF65-F5344CB8AC3E}">
        <p14:creationId xmlns:p14="http://schemas.microsoft.com/office/powerpoint/2010/main" val="37892110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5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VP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#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5&quot;&gt;&lt;elem m_fUsage=&quot;4.61321559900000011112E+00&quot;&gt;&lt;m_msothmcolidx val=&quot;0&quot;/&gt;&lt;m_rgb r=&quot;F3&quot; g=&quot;E6&quot; b=&quot;34&quot;/&gt;&lt;m_nBrightness endver=&quot;26206&quot; val=&quot;0&quot;/&gt;&lt;/elem&gt;&lt;elem m_fUsage=&quot;2.77414765836234344931E+00&quot;&gt;&lt;m_msothmcolidx val=&quot;0&quot;/&gt;&lt;m_rgb r=&quot;27&quot; g=&quot;8E&quot; b=&quot;24&quot;/&gt;&lt;m_nBrightness endver=&quot;26206&quot; val=&quot;0&quot;/&gt;&lt;/elem&gt;&lt;elem m_fUsage=&quot;1.29952205477226612196E+00&quot;&gt;&lt;m_msothmcolidx val=&quot;0&quot;/&gt;&lt;m_rgb r=&quot;FF&quot; g=&quot;91&quot; b=&quot;28&quot;/&gt;&lt;m_nBrightness endver=&quot;26206&quot; val=&quot;0&quot;/&gt;&lt;/elem&gt;&lt;elem m_fUsage=&quot;3.48678440100000153201E-01&quot;&gt;&lt;m_msothmcolidx val=&quot;0&quot;/&gt;&lt;m_rgb r=&quot;EC&quot; g=&quot;EC&quot; b=&quot;3C&quot;/&gt;&lt;m_nBrightness endver=&quot;26206&quot; val=&quot;0&quot;/&gt;&lt;/elem&gt;&lt;elem m_fUsage=&quot;1.66771816996665767086E-01&quot;&gt;&lt;m_msothmcolidx val=&quot;0&quot;/&gt;&lt;m_rgb r=&quot;35&quot; g=&quot;C2&quot; b=&quot;32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KuI4PVT4qMAmdbuZXP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e6KacEVCgUtAMbN6pL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nde">
  <a:themeElements>
    <a:clrScheme name="LINDE 2017-03-02">
      <a:dk1>
        <a:srgbClr val="000000"/>
      </a:dk1>
      <a:lt1>
        <a:srgbClr val="FFFFFF"/>
      </a:lt1>
      <a:dk2>
        <a:srgbClr val="00A0E1"/>
      </a:dk2>
      <a:lt2>
        <a:srgbClr val="E8E9EB"/>
      </a:lt2>
      <a:accent1>
        <a:srgbClr val="005591"/>
      </a:accent1>
      <a:accent2>
        <a:srgbClr val="4D88B2"/>
      </a:accent2>
      <a:accent3>
        <a:srgbClr val="80AAC8"/>
      </a:accent3>
      <a:accent4>
        <a:srgbClr val="B3CCDE"/>
      </a:accent4>
      <a:accent5>
        <a:srgbClr val="00A0E1"/>
      </a:accent5>
      <a:accent6>
        <a:srgbClr val="6E7878"/>
      </a:accent6>
      <a:hlink>
        <a:srgbClr val="000000"/>
      </a:hlink>
      <a:folHlink>
        <a:srgbClr val="000000"/>
      </a:folHlink>
    </a:clrScheme>
    <a:fontScheme name="Linde-PPT-2010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82800" numCol="1" rtlCol="0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 typeface="LindeDaxPowerPoint" panose="020B0500000000020000" pitchFamily="34" charset="0"/>
          <a:buChar char="–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lnDef>
  </a:objectDefaults>
  <a:extraClrSchemeLst/>
  <a:custClrLst>
    <a:custClr name="Linde Blue">
      <a:srgbClr val="005591"/>
    </a:custClr>
    <a:custClr name="Linde Cyan">
      <a:srgbClr val="00A0E1"/>
    </a:custClr>
    <a:custClr name="Linde Dark Blue">
      <a:srgbClr val="002D5A"/>
    </a:custClr>
    <a:custClr name="Linde Gray 4">
      <a:srgbClr val="6E7878"/>
    </a:custClr>
    <a:custClr name="Linde Signal Red">
      <a:srgbClr val="E1000F"/>
    </a:custClr>
    <a:custClr name="Linde Signal Orange">
      <a:srgbClr val="DC7800"/>
    </a:custClr>
    <a:custClr name="Linde Signal Yellow">
      <a:srgbClr val="FFD200"/>
    </a:custClr>
    <a:custClr name="Linde Signal Turquoise">
      <a:srgbClr val="009B9B"/>
    </a:custClr>
    <a:custClr name="Linde Signal Green">
      <a:srgbClr val="009B3C"/>
    </a:custClr>
    <a:custClr name="Linde Neon Green">
      <a:srgbClr val="BECD00"/>
    </a:custClr>
    <a:custClr name="Linde Light Gray">
      <a:srgbClr val="D2E1EB"/>
    </a:custClr>
    <a:custClr name="Linde Blue Gray 1">
      <a:srgbClr val="BEC8D7"/>
    </a:custClr>
    <a:custClr name="Linde Blue Gray 2">
      <a:srgbClr val="96A5B4"/>
    </a:custClr>
    <a:custClr name="Linde Blue Gray 3">
      <a:srgbClr val="467391"/>
    </a:custClr>
    <a:custClr name="Linde Gray 1">
      <a:srgbClr val="D7E1E6"/>
    </a:custClr>
    <a:custClr name="Linde Gray 2">
      <a:srgbClr val="CDD2CD"/>
    </a:custClr>
    <a:custClr name="Linde Gray 3">
      <a:srgbClr val="B9BEB4"/>
    </a:custClr>
    <a:custClr name="Linde Brown 1">
      <a:srgbClr val="E1DCCD"/>
    </a:custClr>
    <a:custClr name="Linde Brown 2">
      <a:srgbClr val="CDC3AA"/>
    </a:custClr>
    <a:custClr name="Linde Brown 3">
      <a:srgbClr val="BEB49B"/>
    </a:custClr>
    <a:custClr name="Linde Green 1">
      <a:srgbClr val="E1EBB4"/>
    </a:custClr>
    <a:custClr name="Linde Green 2">
      <a:srgbClr val="AFB478"/>
    </a:custClr>
    <a:custClr name="Linde Green 3">
      <a:srgbClr val="787D46"/>
    </a:custClr>
  </a:custClrLst>
  <a:extLst>
    <a:ext uri="{05A4C25C-085E-4340-85A3-A5531E510DB2}">
      <thm15:themeFamily xmlns:thm15="http://schemas.microsoft.com/office/thememl/2012/main" name="20190523_Team Strategy_Initiatives 2019 update.potx" id="{6FBC4314-0BD2-4933-885E-E4D339A67C96}" vid="{ABE2AB7A-0CA4-4333-A061-F6B36BA70AD2}"/>
    </a:ext>
  </a:extLst>
</a:theme>
</file>

<file path=ppt/theme/theme2.xml><?xml version="1.0" encoding="utf-8"?>
<a:theme xmlns:a="http://schemas.openxmlformats.org/drawingml/2006/main" name="2_Linde">
  <a:themeElements>
    <a:clrScheme name="LINDE 2017-03-02">
      <a:dk1>
        <a:srgbClr val="000000"/>
      </a:dk1>
      <a:lt1>
        <a:srgbClr val="FFFFFF"/>
      </a:lt1>
      <a:dk2>
        <a:srgbClr val="00A0E1"/>
      </a:dk2>
      <a:lt2>
        <a:srgbClr val="E8E9EB"/>
      </a:lt2>
      <a:accent1>
        <a:srgbClr val="005591"/>
      </a:accent1>
      <a:accent2>
        <a:srgbClr val="4D88B2"/>
      </a:accent2>
      <a:accent3>
        <a:srgbClr val="80AAC8"/>
      </a:accent3>
      <a:accent4>
        <a:srgbClr val="B3CCDE"/>
      </a:accent4>
      <a:accent5>
        <a:srgbClr val="00A0E1"/>
      </a:accent5>
      <a:accent6>
        <a:srgbClr val="6E7878"/>
      </a:accent6>
      <a:hlink>
        <a:srgbClr val="000000"/>
      </a:hlink>
      <a:folHlink>
        <a:srgbClr val="000000"/>
      </a:folHlink>
    </a:clrScheme>
    <a:fontScheme name="Linde-PPT-2010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82800" numCol="1" rtlCol="0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 typeface="LindeDaxPowerPoint" panose="020B0500000000020000" pitchFamily="34" charset="0"/>
          <a:buChar char="–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spDef>
    <a:ln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/>
  <a:custClrLst>
    <a:custClr name="Linde Blue">
      <a:srgbClr val="005591"/>
    </a:custClr>
    <a:custClr name="Linde Cyan">
      <a:srgbClr val="00A0E1"/>
    </a:custClr>
    <a:custClr name="Linde Dark Blue">
      <a:srgbClr val="002D5A"/>
    </a:custClr>
    <a:custClr name="Linde Gray 4">
      <a:srgbClr val="6E7878"/>
    </a:custClr>
    <a:custClr name="Linde Signal Red">
      <a:srgbClr val="E1000F"/>
    </a:custClr>
    <a:custClr name="Linde Signal Orange">
      <a:srgbClr val="DC7800"/>
    </a:custClr>
    <a:custClr name="Linde Signal Yellow">
      <a:srgbClr val="FFD200"/>
    </a:custClr>
    <a:custClr name="Linde Signal Turquoise">
      <a:srgbClr val="009B9B"/>
    </a:custClr>
    <a:custClr name="Linde Signal Green">
      <a:srgbClr val="009B3C"/>
    </a:custClr>
    <a:custClr name="Linde Neon Green">
      <a:srgbClr val="BECD00"/>
    </a:custClr>
    <a:custClr name="Linde Light Gray">
      <a:srgbClr val="D2E1EB"/>
    </a:custClr>
    <a:custClr name="Linde Blue Gray 1">
      <a:srgbClr val="BEC8D7"/>
    </a:custClr>
    <a:custClr name="Linde Blue Gray 2">
      <a:srgbClr val="96A5B4"/>
    </a:custClr>
    <a:custClr name="Linde Blue Gray 3">
      <a:srgbClr val="467391"/>
    </a:custClr>
    <a:custClr name="Linde Gray 1">
      <a:srgbClr val="D7E1E6"/>
    </a:custClr>
    <a:custClr name="Linde Gray 2">
      <a:srgbClr val="CDD2CD"/>
    </a:custClr>
    <a:custClr name="Linde Gray 3">
      <a:srgbClr val="B9BEB4"/>
    </a:custClr>
    <a:custClr name="Linde Brown 1">
      <a:srgbClr val="E1DCCD"/>
    </a:custClr>
    <a:custClr name="Linde Brown 2">
      <a:srgbClr val="CDC3AA"/>
    </a:custClr>
    <a:custClr name="Linde Brown 3">
      <a:srgbClr val="BEB49B"/>
    </a:custClr>
    <a:custClr name="Linde Green 1">
      <a:srgbClr val="E1EBB4"/>
    </a:custClr>
    <a:custClr name="Linde Green 2">
      <a:srgbClr val="AFB478"/>
    </a:custClr>
    <a:custClr name="Linde Green 3">
      <a:srgbClr val="787D46"/>
    </a:custClr>
  </a:custClrLst>
  <a:extLst>
    <a:ext uri="{05A4C25C-085E-4340-85A3-A5531E510DB2}">
      <thm15:themeFamily xmlns:thm15="http://schemas.microsoft.com/office/thememl/2012/main" name="Linde_plc_presentation_2018_4x3_tcm1326-517376.potx  -  Read-Only" id="{44BC5576-7E19-465F-9CA4-0F76BB41DC42}" vid="{D53F5770-39BC-428D-9D25-12A963D41DDA}"/>
    </a:ext>
  </a:extLst>
</a:theme>
</file>

<file path=ppt/theme/theme3.xml><?xml version="1.0" encoding="utf-8"?>
<a:theme xmlns:a="http://schemas.openxmlformats.org/drawingml/2006/main" name="2_Linde">
  <a:themeElements>
    <a:clrScheme name="LINDE 2017-03-02">
      <a:dk1>
        <a:srgbClr val="000000"/>
      </a:dk1>
      <a:lt1>
        <a:srgbClr val="FFFFFF"/>
      </a:lt1>
      <a:dk2>
        <a:srgbClr val="00A0E1"/>
      </a:dk2>
      <a:lt2>
        <a:srgbClr val="E8E9EB"/>
      </a:lt2>
      <a:accent1>
        <a:srgbClr val="005591"/>
      </a:accent1>
      <a:accent2>
        <a:srgbClr val="4D88B2"/>
      </a:accent2>
      <a:accent3>
        <a:srgbClr val="80AAC8"/>
      </a:accent3>
      <a:accent4>
        <a:srgbClr val="B3CCDE"/>
      </a:accent4>
      <a:accent5>
        <a:srgbClr val="00A0E1"/>
      </a:accent5>
      <a:accent6>
        <a:srgbClr val="6E7878"/>
      </a:accent6>
      <a:hlink>
        <a:srgbClr val="000000"/>
      </a:hlink>
      <a:folHlink>
        <a:srgbClr val="000000"/>
      </a:folHlink>
    </a:clrScheme>
    <a:fontScheme name="Linde-PPT-2010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82800" numCol="1" rtlCol="0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 typeface="LindeDaxPowerPoint" panose="020B0500000000020000" pitchFamily="34" charset="0"/>
          <a:buChar char="–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spDef>
    <a:ln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/>
  <a:custClrLst>
    <a:custClr name="Linde Blue">
      <a:srgbClr val="005591"/>
    </a:custClr>
    <a:custClr name="Linde Cyan">
      <a:srgbClr val="00A0E1"/>
    </a:custClr>
    <a:custClr name="Linde Dark Blue">
      <a:srgbClr val="002D5A"/>
    </a:custClr>
    <a:custClr name="Linde Gray 4">
      <a:srgbClr val="6E7878"/>
    </a:custClr>
    <a:custClr name="Linde Signal Red">
      <a:srgbClr val="E1000F"/>
    </a:custClr>
    <a:custClr name="Linde Signal Orange">
      <a:srgbClr val="DC7800"/>
    </a:custClr>
    <a:custClr name="Linde Signal Yellow">
      <a:srgbClr val="FFD200"/>
    </a:custClr>
    <a:custClr name="Linde Signal Turquoise">
      <a:srgbClr val="009B9B"/>
    </a:custClr>
    <a:custClr name="Linde Signal Green">
      <a:srgbClr val="009B3C"/>
    </a:custClr>
    <a:custClr name="Linde Neon Green">
      <a:srgbClr val="BECD00"/>
    </a:custClr>
    <a:custClr name="Linde Light Gray">
      <a:srgbClr val="D2E1EB"/>
    </a:custClr>
    <a:custClr name="Linde Blue Gray 1">
      <a:srgbClr val="BEC8D7"/>
    </a:custClr>
    <a:custClr name="Linde Blue Gray 2">
      <a:srgbClr val="96A5B4"/>
    </a:custClr>
    <a:custClr name="Linde Blue Gray 3">
      <a:srgbClr val="467391"/>
    </a:custClr>
    <a:custClr name="Linde Gray 1">
      <a:srgbClr val="D7E1E6"/>
    </a:custClr>
    <a:custClr name="Linde Gray 2">
      <a:srgbClr val="CDD2CD"/>
    </a:custClr>
    <a:custClr name="Linde Gray 3">
      <a:srgbClr val="B9BEB4"/>
    </a:custClr>
    <a:custClr name="Linde Brown 1">
      <a:srgbClr val="E1DCCD"/>
    </a:custClr>
    <a:custClr name="Linde Brown 2">
      <a:srgbClr val="CDC3AA"/>
    </a:custClr>
    <a:custClr name="Linde Brown 3">
      <a:srgbClr val="BEB49B"/>
    </a:custClr>
    <a:custClr name="Linde Green 1">
      <a:srgbClr val="E1EBB4"/>
    </a:custClr>
    <a:custClr name="Linde Green 2">
      <a:srgbClr val="AFB478"/>
    </a:custClr>
    <a:custClr name="Linde Green 3">
      <a:srgbClr val="787D46"/>
    </a:custClr>
  </a:custClrLst>
  <a:extLst>
    <a:ext uri="{05A4C25C-085E-4340-85A3-A5531E510DB2}">
      <thm15:themeFamily xmlns:thm15="http://schemas.microsoft.com/office/thememl/2012/main" name="Linde_plc_presentation_2018_4x3_tcm1326-517376.potx  -  Read-Only" id="{44BC5576-7E19-465F-9CA4-0F76BB41DC42}" vid="{D53F5770-39BC-428D-9D25-12A963D41DDA}"/>
    </a:ext>
  </a:extLst>
</a:theme>
</file>

<file path=ppt/theme/theme4.xml><?xml version="1.0" encoding="utf-8"?>
<a:theme xmlns:a="http://schemas.openxmlformats.org/drawingml/2006/main" name="Larissa">
  <a:themeElements>
    <a:clrScheme name="LINDE 2017-03-02">
      <a:dk1>
        <a:srgbClr val="000000"/>
      </a:dk1>
      <a:lt1>
        <a:srgbClr val="FFFFFF"/>
      </a:lt1>
      <a:dk2>
        <a:srgbClr val="00A0E1"/>
      </a:dk2>
      <a:lt2>
        <a:srgbClr val="E8E9EB"/>
      </a:lt2>
      <a:accent1>
        <a:srgbClr val="005591"/>
      </a:accent1>
      <a:accent2>
        <a:srgbClr val="4D88B2"/>
      </a:accent2>
      <a:accent3>
        <a:srgbClr val="80AAC8"/>
      </a:accent3>
      <a:accent4>
        <a:srgbClr val="B3CCDE"/>
      </a:accent4>
      <a:accent5>
        <a:srgbClr val="00A0E1"/>
      </a:accent5>
      <a:accent6>
        <a:srgbClr val="6E7878"/>
      </a:accent6>
      <a:hlink>
        <a:srgbClr val="000000"/>
      </a:hlink>
      <a:folHlink>
        <a:srgbClr val="000000"/>
      </a:folHlink>
    </a:clrScheme>
    <a:fontScheme name="Linde-PPT-2010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LINDE 2017-03-02">
      <a:dk1>
        <a:srgbClr val="000000"/>
      </a:dk1>
      <a:lt1>
        <a:srgbClr val="FFFFFF"/>
      </a:lt1>
      <a:dk2>
        <a:srgbClr val="00A0E1"/>
      </a:dk2>
      <a:lt2>
        <a:srgbClr val="E8E9EB"/>
      </a:lt2>
      <a:accent1>
        <a:srgbClr val="005591"/>
      </a:accent1>
      <a:accent2>
        <a:srgbClr val="4D88B2"/>
      </a:accent2>
      <a:accent3>
        <a:srgbClr val="80AAC8"/>
      </a:accent3>
      <a:accent4>
        <a:srgbClr val="B3CCDE"/>
      </a:accent4>
      <a:accent5>
        <a:srgbClr val="00A0E1"/>
      </a:accent5>
      <a:accent6>
        <a:srgbClr val="6E7878"/>
      </a:accent6>
      <a:hlink>
        <a:srgbClr val="000000"/>
      </a:hlink>
      <a:folHlink>
        <a:srgbClr val="000000"/>
      </a:folHlink>
    </a:clrScheme>
    <a:fontScheme name="Linde-PPT-2010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319b22a-eb88-433c-89cf-5d7e6c72b740">
      <UserInfo>
        <DisplayName>Natarajan Thiyagarajan</DisplayName>
        <AccountId>17</AccountId>
        <AccountType/>
      </UserInfo>
      <UserInfo>
        <DisplayName>SharingLinks.d9fe0c3e-e4f5-42f9-9c89-f0d1b47c48a4.Flexible.b4ce2876-ee25-44c6-92d2-bf94c6a68905</DisplayName>
        <AccountId>109</AccountId>
        <AccountType/>
      </UserInfo>
      <UserInfo>
        <DisplayName>SharingLinks.749af67a-cd86-4f30-ae3c-28d9b0bfa489.Flexible.4e5fc527-3895-423f-9e5b-dc91d102afd8</DisplayName>
        <AccountId>95</AccountId>
        <AccountType/>
      </UserInfo>
      <UserInfo>
        <DisplayName>SharingLinks.2872bc0c-8423-47ce-8690-5a79abb1c4f6.OrganizationEdit.c61e3fdf-9e63-4090-985e-0348435b6e9c</DisplayName>
        <AccountId>131</AccountId>
        <AccountType/>
      </UserInfo>
      <UserInfo>
        <DisplayName>Tobias Hust</DisplayName>
        <AccountId>16</AccountId>
        <AccountType/>
      </UserInfo>
      <UserInfo>
        <DisplayName>Weley Lieu</DisplayName>
        <AccountId>66</AccountId>
        <AccountType/>
      </UserInfo>
      <UserInfo>
        <DisplayName>SharingLinks.c40d5406-786c-4dbc-9458-c484a3fadd0c.Flexible.814c351a-d83a-4dac-a844-2a3aa04efa1a</DisplayName>
        <AccountId>99</AccountId>
        <AccountType/>
      </UserInfo>
      <UserInfo>
        <DisplayName>Takanen, Sanna</DisplayName>
        <AccountId>125</AccountId>
        <AccountType/>
      </UserInfo>
      <UserInfo>
        <DisplayName>Michael Kurtz</DisplayName>
        <AccountId>36</AccountId>
        <AccountType/>
      </UserInfo>
      <UserInfo>
        <DisplayName>Janet Wright</DisplayName>
        <AccountId>55</AccountId>
        <AccountType/>
      </UserInfo>
    </SharedWithUsers>
    <TaxCatchAll xmlns="1319b22a-eb88-433c-89cf-5d7e6c72b740" xsi:nil="true"/>
    <lcf76f155ced4ddcb4097134ff3c332f xmlns="797d6ad0-3d6b-4c04-8425-8835a3b1a1b0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3E38E341DD584FB84195DD98501FE6" ma:contentTypeVersion="14" ma:contentTypeDescription="Create a new document." ma:contentTypeScope="" ma:versionID="c8c8e307fa7d44439fe24f2a0ba9b95a">
  <xsd:schema xmlns:xsd="http://www.w3.org/2001/XMLSchema" xmlns:xs="http://www.w3.org/2001/XMLSchema" xmlns:p="http://schemas.microsoft.com/office/2006/metadata/properties" xmlns:ns2="797d6ad0-3d6b-4c04-8425-8835a3b1a1b0" xmlns:ns3="1319b22a-eb88-433c-89cf-5d7e6c72b740" targetNamespace="http://schemas.microsoft.com/office/2006/metadata/properties" ma:root="true" ma:fieldsID="812dcff6f5b317196f75c850e025e663" ns2:_="" ns3:_="">
    <xsd:import namespace="797d6ad0-3d6b-4c04-8425-8835a3b1a1b0"/>
    <xsd:import namespace="1319b22a-eb88-433c-89cf-5d7e6c72b7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7d6ad0-3d6b-4c04-8425-8835a3b1a1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e315aa8-bd96-4598-8e4a-1d3aeb7b64c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19b22a-eb88-433c-89cf-5d7e6c72b74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faa99788-456e-4175-a7d4-fe7080d90e0c}" ma:internalName="TaxCatchAll" ma:showField="CatchAllData" ma:web="1319b22a-eb88-433c-89cf-5d7e6c72b74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3A6616E-B8D3-4E03-B67C-DCAF44695CC2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797d6ad0-3d6b-4c04-8425-8835a3b1a1b0"/>
    <ds:schemaRef ds:uri="http://www.w3.org/XML/1998/namespace"/>
    <ds:schemaRef ds:uri="http://purl.org/dc/elements/1.1/"/>
    <ds:schemaRef ds:uri="http://purl.org/dc/dcmitype/"/>
    <ds:schemaRef ds:uri="http://schemas.microsoft.com/office/infopath/2007/PartnerControls"/>
    <ds:schemaRef ds:uri="1319b22a-eb88-433c-89cf-5d7e6c72b740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E062BF3A-898E-48B5-8D17-45FCF35D5C5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97d6ad0-3d6b-4c04-8425-8835a3b1a1b0"/>
    <ds:schemaRef ds:uri="1319b22a-eb88-433c-89cf-5d7e6c72b7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1CA48F6-8D90-4BC7-95C3-F20BD426B8A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 Vorlage</Template>
  <TotalTime>0</TotalTime>
  <Words>1547</Words>
  <Application>Microsoft Office PowerPoint</Application>
  <PresentationFormat>Widescreen</PresentationFormat>
  <Paragraphs>322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5" baseType="lpstr">
      <vt:lpstr>LindeDaxPowerPoint</vt:lpstr>
      <vt:lpstr>Times New Roman</vt:lpstr>
      <vt:lpstr>Wingdings</vt:lpstr>
      <vt:lpstr>Calibri Light</vt:lpstr>
      <vt:lpstr>Symbol</vt:lpstr>
      <vt:lpstr>Verdana</vt:lpstr>
      <vt:lpstr>Arial</vt:lpstr>
      <vt:lpstr>Calibri</vt:lpstr>
      <vt:lpstr>Malgun Gothic</vt:lpstr>
      <vt:lpstr>Linde</vt:lpstr>
      <vt:lpstr>2_Linde</vt:lpstr>
      <vt:lpstr>2_Linde</vt:lpstr>
      <vt:lpstr>think-cell Slide</vt:lpstr>
      <vt:lpstr>SAP S4 HANA Technical Transformation Project, US/MX Satellites Overview</vt:lpstr>
      <vt:lpstr>US-MX HANA Satellites Overview Introduction</vt:lpstr>
      <vt:lpstr>US-MX HANA Satellites Overview Satellite Lead Introduction</vt:lpstr>
      <vt:lpstr>US-MX HANA Satellites Overview Satellite Overview</vt:lpstr>
      <vt:lpstr>Project S/4 HANA US &amp; Mexico – Scoping  Satellites in scope </vt:lpstr>
      <vt:lpstr>US-MX HANA Satellites Overview Master List</vt:lpstr>
      <vt:lpstr>US-MX HANA Satellites Overview Considerations</vt:lpstr>
      <vt:lpstr>US-MX HANA Satellites Overview Environments/Test Phases</vt:lpstr>
      <vt:lpstr>US-MX HANA Satellites Overview Environments/Test Phases</vt:lpstr>
      <vt:lpstr>US-MX HANA Satellites Overview Timeline</vt:lpstr>
      <vt:lpstr>US-MX HANA Satellites Overview Possible Limitations</vt:lpstr>
      <vt:lpstr>Thank you for your attention.</vt:lpstr>
    </vt:vector>
  </TitlesOfParts>
  <Company>Lin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ublic websites &amp; Intranet integration</dc:title>
  <dc:creator>Simona Roth</dc:creator>
  <cp:lastModifiedBy>Leonard Eynon</cp:lastModifiedBy>
  <cp:revision>304</cp:revision>
  <cp:lastPrinted>2025-02-05T19:36:13Z</cp:lastPrinted>
  <dcterms:created xsi:type="dcterms:W3CDTF">2019-05-17T07:22:59Z</dcterms:created>
  <dcterms:modified xsi:type="dcterms:W3CDTF">2025-03-11T14:14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7dd8761-fc91-4c48-ba6c-d64d91377c67_Enabled">
    <vt:lpwstr>True</vt:lpwstr>
  </property>
  <property fmtid="{D5CDD505-2E9C-101B-9397-08002B2CF9AE}" pid="3" name="MSIP_Label_87dd8761-fc91-4c48-ba6c-d64d91377c67_SiteId">
    <vt:lpwstr>1562f007-09a4-4fcb-936b-e79246571fc7</vt:lpwstr>
  </property>
  <property fmtid="{D5CDD505-2E9C-101B-9397-08002B2CF9AE}" pid="4" name="MSIP_Label_87dd8761-fc91-4c48-ba6c-d64d91377c67_Owner">
    <vt:lpwstr>de027c@linde.com</vt:lpwstr>
  </property>
  <property fmtid="{D5CDD505-2E9C-101B-9397-08002B2CF9AE}" pid="5" name="MSIP_Label_87dd8761-fc91-4c48-ba6c-d64d91377c67_SetDate">
    <vt:lpwstr>2019-03-07T07:03:03.5051349Z</vt:lpwstr>
  </property>
  <property fmtid="{D5CDD505-2E9C-101B-9397-08002B2CF9AE}" pid="6" name="MSIP_Label_87dd8761-fc91-4c48-ba6c-d64d91377c67_Name">
    <vt:lpwstr>Internal</vt:lpwstr>
  </property>
  <property fmtid="{D5CDD505-2E9C-101B-9397-08002B2CF9AE}" pid="7" name="MSIP_Label_87dd8761-fc91-4c48-ba6c-d64d91377c67_Application">
    <vt:lpwstr>Microsoft Azure Information Protection</vt:lpwstr>
  </property>
  <property fmtid="{D5CDD505-2E9C-101B-9397-08002B2CF9AE}" pid="8" name="MSIP_Label_87dd8761-fc91-4c48-ba6c-d64d91377c67_Extended_MSFT_Method">
    <vt:lpwstr>Automatic</vt:lpwstr>
  </property>
  <property fmtid="{D5CDD505-2E9C-101B-9397-08002B2CF9AE}" pid="9" name="Sensitivity">
    <vt:lpwstr>Internal</vt:lpwstr>
  </property>
  <property fmtid="{D5CDD505-2E9C-101B-9397-08002B2CF9AE}" pid="10" name="AuthorIds_UIVersion_24064">
    <vt:lpwstr>15,14</vt:lpwstr>
  </property>
  <property fmtid="{D5CDD505-2E9C-101B-9397-08002B2CF9AE}" pid="11" name="AuthorIds_UIVersion_24576">
    <vt:lpwstr>12</vt:lpwstr>
  </property>
  <property fmtid="{D5CDD505-2E9C-101B-9397-08002B2CF9AE}" pid="12" name="AuthorIds_UIVersion_25600">
    <vt:lpwstr>12</vt:lpwstr>
  </property>
  <property fmtid="{D5CDD505-2E9C-101B-9397-08002B2CF9AE}" pid="13" name="_ExtendedDescription">
    <vt:lpwstr/>
  </property>
  <property fmtid="{D5CDD505-2E9C-101B-9397-08002B2CF9AE}" pid="14" name="ContentTypeId">
    <vt:lpwstr>0x010100B83E38E341DD584FB84195DD98501FE6</vt:lpwstr>
  </property>
  <property fmtid="{D5CDD505-2E9C-101B-9397-08002B2CF9AE}" pid="15" name="MediaServiceImageTags">
    <vt:lpwstr/>
  </property>
</Properties>
</file>